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4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5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6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7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8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9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0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1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9" r:id="rId2"/>
    <p:sldMasterId id="2147483745" r:id="rId3"/>
    <p:sldMasterId id="2147483785" r:id="rId4"/>
    <p:sldMasterId id="2147483799" r:id="rId5"/>
    <p:sldMasterId id="2147483812" r:id="rId6"/>
    <p:sldMasterId id="2147483821" r:id="rId7"/>
    <p:sldMasterId id="2147483830" r:id="rId8"/>
    <p:sldMasterId id="2147483874" r:id="rId9"/>
    <p:sldMasterId id="2147483883" r:id="rId10"/>
    <p:sldMasterId id="2147483892" r:id="rId11"/>
    <p:sldMasterId id="2147483932" r:id="rId12"/>
    <p:sldMasterId id="2147483963" r:id="rId13"/>
  </p:sldMasterIdLst>
  <p:notesMasterIdLst>
    <p:notesMasterId r:id="rId25"/>
  </p:notesMasterIdLst>
  <p:sldIdLst>
    <p:sldId id="1144" r:id="rId14"/>
    <p:sldId id="1149" r:id="rId15"/>
    <p:sldId id="1150" r:id="rId16"/>
    <p:sldId id="1145" r:id="rId17"/>
    <p:sldId id="1147" r:id="rId18"/>
    <p:sldId id="1159" r:id="rId19"/>
    <p:sldId id="1151" r:id="rId20"/>
    <p:sldId id="1152" r:id="rId21"/>
    <p:sldId id="1156" r:id="rId22"/>
    <p:sldId id="1158" r:id="rId23"/>
    <p:sldId id="1069" r:id="rId24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7A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52" autoAdjust="0"/>
    <p:restoredTop sz="92765" autoAdjust="0"/>
  </p:normalViewPr>
  <p:slideViewPr>
    <p:cSldViewPr snapToGrid="0">
      <p:cViewPr varScale="1">
        <p:scale>
          <a:sx n="149" d="100"/>
          <a:sy n="149" d="100"/>
        </p:scale>
        <p:origin x="2142" y="120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06F50B-5DD1-4D82-A7CA-CD47C7E594EF}" type="datetimeFigureOut">
              <a:rPr lang="en-US" smtClean="0"/>
              <a:t>4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469A16-4C8E-4DB2-B74D-1934B95BA0E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58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469A16-4C8E-4DB2-B74D-1934B95BA0E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9693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469A16-4C8E-4DB2-B74D-1934B95BA0E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9485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1241425"/>
            <a:ext cx="44672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469A16-4C8E-4DB2-B74D-1934B95BA0E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331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381000"/>
            <a:ext cx="3432175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FEAE42-E3FE-4405-B7FC-4425D05B92A0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2966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.bin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3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0311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69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2539968"/>
            <a:ext cx="5349240" cy="9144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1" y="466344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2" y="6248401"/>
            <a:ext cx="727103" cy="390524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endParaRPr sz="1350" kern="0" smtClea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endParaRPr sz="1350" kern="0" smtClea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730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5015896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09B4CBFE-C40F-4B27-9908-9219483C67C8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70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6504" y="2539060"/>
            <a:ext cx="3190992" cy="1779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42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B8F46-5F06-4239-B6C0-D2829F200271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35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1" y="519236"/>
            <a:ext cx="914399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19238"/>
            <a:ext cx="7258050" cy="557676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2EAA9D-610E-4897-B785-50EC5F07F342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98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with Name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1" y="3"/>
            <a:ext cx="9143997" cy="680907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" name="Title 1"/>
          <p:cNvSpPr txBox="1">
            <a:spLocks noGrp="1"/>
          </p:cNvSpPr>
          <p:nvPr>
            <p:ph type="title"/>
          </p:nvPr>
        </p:nvSpPr>
        <p:spPr>
          <a:xfrm>
            <a:off x="458273" y="2667003"/>
            <a:ext cx="6856217" cy="2286000"/>
          </a:xfrm>
        </p:spPr>
        <p:txBody>
          <a:bodyPr anchor="b"/>
          <a:lstStyle>
            <a:lvl1pPr>
              <a:lnSpc>
                <a:spcPct val="80000"/>
              </a:lnSpc>
              <a:defRPr sz="60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9"/>
          <p:cNvSpPr txBox="1">
            <a:spLocks noGrp="1"/>
          </p:cNvSpPr>
          <p:nvPr>
            <p:ph type="body" idx="4294967295"/>
          </p:nvPr>
        </p:nvSpPr>
        <p:spPr>
          <a:xfrm>
            <a:off x="457203" y="4939689"/>
            <a:ext cx="6856217" cy="69910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3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9"/>
          <p:cNvSpPr txBox="1">
            <a:spLocks noGrp="1"/>
          </p:cNvSpPr>
          <p:nvPr>
            <p:ph type="body" idx="4294967295"/>
          </p:nvPr>
        </p:nvSpPr>
        <p:spPr>
          <a:xfrm>
            <a:off x="457203" y="5791196"/>
            <a:ext cx="6856217" cy="4572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7"/>
          <p:cNvSpPr txBox="1">
            <a:spLocks noGrp="1"/>
          </p:cNvSpPr>
          <p:nvPr>
            <p:ph type="body" idx="4294967295"/>
          </p:nvPr>
        </p:nvSpPr>
        <p:spPr>
          <a:xfrm>
            <a:off x="5951640" y="457200"/>
            <a:ext cx="2735156" cy="354110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add da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633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with Nam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5213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272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999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1" y="4939697"/>
            <a:ext cx="6856214" cy="69910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99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201" y="5791200"/>
            <a:ext cx="6856214" cy="4572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99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3" y="457204"/>
            <a:ext cx="2735158" cy="354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79456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3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999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2" y="4939697"/>
            <a:ext cx="6856214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999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1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16316"/>
              <a:endParaRPr sz="3224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16316"/>
              <a:endParaRPr sz="3224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605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608806"/>
            <a:ext cx="8228528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>
              <a:lnSpc>
                <a:spcPct val="90000"/>
              </a:lnSpc>
            </a:pPr>
            <a:endParaRPr sz="3224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990603"/>
            <a:ext cx="6171008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2999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2" y="1600885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399">
                <a:solidFill>
                  <a:schemeClr val="bg1"/>
                </a:solidFill>
              </a:defRPr>
            </a:lvl1pPr>
            <a:lvl2pPr marL="34283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6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49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2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1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698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8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65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DC2ED-51D6-4E66-929E-5E465D7C46DB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82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2" y="2571750"/>
            <a:ext cx="6171008" cy="576263"/>
          </a:xfrm>
        </p:spPr>
        <p:txBody>
          <a:bodyPr>
            <a:noAutofit/>
          </a:bodyPr>
          <a:lstStyle>
            <a:lvl1pPr>
              <a:defRPr sz="2999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3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399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C73CF5-FC94-4509-9DD1-75646F470347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816316">
              <a:lnSpc>
                <a:spcPct val="90000"/>
              </a:lnSpc>
            </a:pPr>
            <a:endParaRPr sz="322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493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6012" y="6248401"/>
            <a:ext cx="727103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133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2" y="2571750"/>
            <a:ext cx="6171008" cy="576263"/>
          </a:xfrm>
        </p:spPr>
        <p:txBody>
          <a:bodyPr>
            <a:noAutofit/>
          </a:bodyPr>
          <a:lstStyle>
            <a:lvl1pPr>
              <a:defRPr sz="2999"/>
            </a:lvl1pPr>
          </a:lstStyle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3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399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4E421-A61D-477B-8C94-336283B5A0B8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816316">
              <a:lnSpc>
                <a:spcPct val="90000"/>
              </a:lnSpc>
            </a:pPr>
            <a:endParaRPr sz="3224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0246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A1EBD1-9BC2-4F0F-AEB1-5DD91F0F636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935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3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79D3A0-AA62-4E12-A136-7756C452F263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12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35AC6-A15A-4547-B33C-863E685C468F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05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9947" y="4294912"/>
            <a:ext cx="9144000" cy="2563091"/>
          </a:xfrm>
          <a:prstGeom prst="rect">
            <a:avLst/>
          </a:prstGeom>
          <a:gradFill flip="none" rotWithShape="1">
            <a:gsLst>
              <a:gs pos="0">
                <a:srgbClr val="425563">
                  <a:alpha val="0"/>
                </a:srgbClr>
              </a:gs>
              <a:gs pos="23000">
                <a:srgbClr val="425563">
                  <a:shade val="67500"/>
                  <a:satMod val="115000"/>
                  <a:alpha val="38000"/>
                </a:srgbClr>
              </a:gs>
              <a:gs pos="100000">
                <a:srgbClr val="425563">
                  <a:shade val="100000"/>
                  <a:satMod val="115000"/>
                  <a:alpha val="85000"/>
                </a:srgb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675" kern="0" dirty="0" smtClean="0">
              <a:solidFill>
                <a:prstClr val="white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88F980-49F1-428B-9A4F-57239797E370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6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>
                <a:solidFill>
                  <a:prstClr val="black"/>
                </a:solidFill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7445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3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999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2" y="5015897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399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1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16316"/>
              <a:endParaRPr sz="3224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816316"/>
              <a:endParaRPr sz="3224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4AB2504-F8AA-414F-9B79-2FE05C49BA4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65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No Bu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 lIns="217728" tIns="109728" rIns="217728" bIns="108864" rtlCol="0" anchor="t" anchorCtr="0">
            <a:norm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90000"/>
              </a:lnSpc>
            </a:pPr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932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63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265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srgbClr val="FFFFFF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610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96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3"/>
            <a:ext cx="8227338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429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853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780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524000"/>
            <a:ext cx="3083838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2478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srgbClr val="000000"/>
                </a:solidFill>
              </a:rPr>
              <a:pPr/>
              <a:t>April 12, 2019</a:t>
            </a:fld>
            <a:endParaRPr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rivate | Confidential | Internal Use Only 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21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313418"/>
            <a:ext cx="8460105" cy="29084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584964"/>
            <a:ext cx="4030662" cy="42930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6" y="1581152"/>
            <a:ext cx="3878264" cy="4296832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1001854"/>
            <a:ext cx="8460105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799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50373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0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ynergyRack_WithPan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817" y="456997"/>
            <a:ext cx="2276856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57794" y="2209800"/>
            <a:ext cx="6685956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69512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524000"/>
            <a:ext cx="3083838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74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Year Through CY2015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360207"/>
            <a:ext cx="8474400" cy="574516"/>
          </a:xfrm>
        </p:spPr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21545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03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3"/>
            <a:ext cx="8227338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138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 page_dark_one colum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50803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 page_dark_one column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11359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page_dark_one colum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3878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423860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page_dark_one colum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03746" y="238083"/>
            <a:ext cx="7366000" cy="819536"/>
          </a:xfrm>
          <a:prstGeom prst="rect">
            <a:avLst/>
          </a:prstGeom>
        </p:spPr>
        <p:txBody>
          <a:bodyPr anchor="ctr" anchorCtr="0"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9533" y="1399433"/>
            <a:ext cx="7543800" cy="4330700"/>
          </a:xfrm>
          <a:prstGeom prst="rect">
            <a:avLst/>
          </a:prstGeom>
        </p:spPr>
        <p:txBody>
          <a:bodyPr vert="horz"/>
          <a:lstStyle>
            <a:lvl1pPr>
              <a:defRPr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 headline is 24pt Arial bold, Text 1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8817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3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999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2" y="5015897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399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62362" y="601131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3224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3224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4AB2504-F8AA-414F-9B79-2FE05C49BA4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51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5213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272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999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1" y="4939697"/>
            <a:ext cx="6856214" cy="69910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99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201" y="5791200"/>
            <a:ext cx="6856214" cy="4572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99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 bwMode="black">
          <a:xfrm>
            <a:off x="455355" y="457385"/>
            <a:ext cx="2270068" cy="1219244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816316">
                <a:defRPr/>
              </a:pPr>
              <a:endParaRPr sz="3224" kern="0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816316">
                <a:defRPr/>
              </a:pPr>
              <a:endParaRPr sz="3224" kern="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038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524BA-C79E-44DB-BAC5-44EED042838E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2465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3DF7D-C96A-4F63-BBD4-20D694625DCA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7086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863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152400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8155"/>
            <a:ext cx="8227338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9620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11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74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9947" y="4294912"/>
            <a:ext cx="9144000" cy="256309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23000">
                <a:schemeClr val="tx1">
                  <a:alpha val="38000"/>
                </a:schemeClr>
              </a:gs>
              <a:gs pos="100000">
                <a:schemeClr val="tx1">
                  <a:alpha val="85000"/>
                </a:scheme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675" kern="0" dirty="0">
              <a:solidFill>
                <a:prstClr val="white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F763D2-AF56-4C60-80C7-7D8FC051005C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16F8AB-BCEA-4347-8BA6-BE776009BC89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056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3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999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2" y="5015897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399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62362" y="601131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3224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3224" dirty="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4AB2504-F8AA-414F-9B79-2FE05C49BA4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78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5213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272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999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1" y="4939697"/>
            <a:ext cx="6856214" cy="69910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99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201" y="5791200"/>
            <a:ext cx="6856214" cy="4572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99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 bwMode="black">
          <a:xfrm>
            <a:off x="455355" y="457385"/>
            <a:ext cx="2270068" cy="1219244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816316">
                <a:defRPr/>
              </a:pPr>
              <a:endParaRPr sz="3224" kern="0"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pPr defTabSz="816316">
                <a:defRPr/>
              </a:pPr>
              <a:endParaRPr sz="3224" kern="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359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524BA-C79E-44DB-BAC5-44EED042838E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101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F3DF7D-C96A-4F63-BBD4-20D694625DCA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413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50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27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25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78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9947" y="4294912"/>
            <a:ext cx="9144000" cy="2563091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23000">
                <a:schemeClr val="tx1">
                  <a:alpha val="38000"/>
                </a:schemeClr>
              </a:gs>
              <a:gs pos="100000">
                <a:schemeClr val="tx1">
                  <a:alpha val="85000"/>
                </a:schemeClr>
              </a:gs>
            </a:gsLst>
            <a:lin ang="540000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sz="675" kern="0" dirty="0">
              <a:solidFill>
                <a:prstClr val="white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7" name="Freeform 6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F763D2-AF56-4C60-80C7-7D8FC051005C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ivate | Confidential | Internal Use Only 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16F8AB-BCEA-4347-8BA6-BE776009BC89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480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ED07B52A-77BB-406D-92F5-74F9595DF6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9144000" cy="683817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ltGray">
          <a:xfrm>
            <a:off x="0" y="0"/>
            <a:ext cx="7650342" cy="685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9000"/>
                </a:schemeClr>
              </a:gs>
            </a:gsLst>
            <a:lin ang="108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 err="1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9" y="457000"/>
            <a:ext cx="2270363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81586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6960E39D-BD2D-406F-BC1F-7C3F0DD1D2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ltGray">
          <a:xfrm>
            <a:off x="0" y="-13100"/>
            <a:ext cx="8946486" cy="687109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90000">
                <a:schemeClr val="accent6">
                  <a:lumMod val="25000"/>
                  <a:alpha val="75000"/>
                </a:schemeClr>
              </a:gs>
            </a:gsLst>
            <a:lin ang="10200000" scaled="0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lnSpc>
                <a:spcPct val="90000"/>
              </a:lnSpc>
            </a:pPr>
            <a:endParaRPr lang="en-US" sz="1350" err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228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468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614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32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93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81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4050"/>
            </a:lvl1pPr>
          </a:lstStyle>
          <a:p>
            <a:r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5334000"/>
            <a:ext cx="6856214" cy="4572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951643" y="457203"/>
            <a:ext cx="2735158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Group 8" title="Hewlett Packard Labs"/>
          <p:cNvGrpSpPr>
            <a:grpSpLocks noChangeAspect="1"/>
          </p:cNvGrpSpPr>
          <p:nvPr userDrawn="1"/>
        </p:nvGrpSpPr>
        <p:grpSpPr bwMode="gray">
          <a:xfrm>
            <a:off x="454820" y="457200"/>
            <a:ext cx="2720447" cy="1206500"/>
            <a:chOff x="-1752600" y="385577"/>
            <a:chExt cx="19053176" cy="6337486"/>
          </a:xfrm>
        </p:grpSpPr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3722689" y="3397252"/>
              <a:ext cx="13577887" cy="3325811"/>
            </a:xfrm>
            <a:custGeom>
              <a:avLst/>
              <a:gdLst>
                <a:gd name="T0" fmla="*/ 261 w 3621"/>
                <a:gd name="T1" fmla="*/ 798 h 887"/>
                <a:gd name="T2" fmla="*/ 453 w 3621"/>
                <a:gd name="T3" fmla="*/ 718 h 887"/>
                <a:gd name="T4" fmla="*/ 418 w 3621"/>
                <a:gd name="T5" fmla="*/ 605 h 887"/>
                <a:gd name="T6" fmla="*/ 453 w 3621"/>
                <a:gd name="T7" fmla="*/ 867 h 887"/>
                <a:gd name="T8" fmla="*/ 453 w 3621"/>
                <a:gd name="T9" fmla="*/ 728 h 887"/>
                <a:gd name="T10" fmla="*/ 378 w 3621"/>
                <a:gd name="T11" fmla="*/ 797 h 887"/>
                <a:gd name="T12" fmla="*/ 680 w 3621"/>
                <a:gd name="T13" fmla="*/ 881 h 887"/>
                <a:gd name="T14" fmla="*/ 680 w 3621"/>
                <a:gd name="T15" fmla="*/ 633 h 887"/>
                <a:gd name="T16" fmla="*/ 680 w 3621"/>
                <a:gd name="T17" fmla="*/ 859 h 887"/>
                <a:gd name="T18" fmla="*/ 773 w 3621"/>
                <a:gd name="T19" fmla="*/ 746 h 887"/>
                <a:gd name="T20" fmla="*/ 894 w 3621"/>
                <a:gd name="T21" fmla="*/ 782 h 887"/>
                <a:gd name="T22" fmla="*/ 975 w 3621"/>
                <a:gd name="T23" fmla="*/ 776 h 887"/>
                <a:gd name="T24" fmla="*/ 1097 w 3621"/>
                <a:gd name="T25" fmla="*/ 706 h 887"/>
                <a:gd name="T26" fmla="*/ 1031 w 3621"/>
                <a:gd name="T27" fmla="*/ 716 h 887"/>
                <a:gd name="T28" fmla="*/ 894 w 3621"/>
                <a:gd name="T29" fmla="*/ 782 h 887"/>
                <a:gd name="T30" fmla="*/ 255 w 3621"/>
                <a:gd name="T31" fmla="*/ 222 h 887"/>
                <a:gd name="T32" fmla="*/ 0 w 3621"/>
                <a:gd name="T33" fmla="*/ 21 h 887"/>
                <a:gd name="T34" fmla="*/ 255 w 3621"/>
                <a:gd name="T35" fmla="*/ 21 h 887"/>
                <a:gd name="T36" fmla="*/ 569 w 3621"/>
                <a:gd name="T37" fmla="*/ 330 h 887"/>
                <a:gd name="T38" fmla="*/ 478 w 3621"/>
                <a:gd name="T39" fmla="*/ 118 h 887"/>
                <a:gd name="T40" fmla="*/ 406 w 3621"/>
                <a:gd name="T41" fmla="*/ 229 h 887"/>
                <a:gd name="T42" fmla="*/ 863 w 3621"/>
                <a:gd name="T43" fmla="*/ 327 h 887"/>
                <a:gd name="T44" fmla="*/ 843 w 3621"/>
                <a:gd name="T45" fmla="*/ 390 h 887"/>
                <a:gd name="T46" fmla="*/ 610 w 3621"/>
                <a:gd name="T47" fmla="*/ 123 h 887"/>
                <a:gd name="T48" fmla="*/ 808 w 3621"/>
                <a:gd name="T49" fmla="*/ 123 h 887"/>
                <a:gd name="T50" fmla="*/ 1015 w 3621"/>
                <a:gd name="T51" fmla="*/ 0 h 887"/>
                <a:gd name="T52" fmla="*/ 1250 w 3621"/>
                <a:gd name="T53" fmla="*/ 356 h 887"/>
                <a:gd name="T54" fmla="*/ 1116 w 3621"/>
                <a:gd name="T55" fmla="*/ 259 h 887"/>
                <a:gd name="T56" fmla="*/ 1160 w 3621"/>
                <a:gd name="T57" fmla="*/ 264 h 887"/>
                <a:gd name="T58" fmla="*/ 1163 w 3621"/>
                <a:gd name="T59" fmla="*/ 229 h 887"/>
                <a:gd name="T60" fmla="*/ 1636 w 3621"/>
                <a:gd name="T61" fmla="*/ 162 h 887"/>
                <a:gd name="T62" fmla="*/ 1636 w 3621"/>
                <a:gd name="T63" fmla="*/ 53 h 887"/>
                <a:gd name="T64" fmla="*/ 1472 w 3621"/>
                <a:gd name="T65" fmla="*/ 53 h 887"/>
                <a:gd name="T66" fmla="*/ 1371 w 3621"/>
                <a:gd name="T67" fmla="*/ 162 h 887"/>
                <a:gd name="T68" fmla="*/ 1472 w 3621"/>
                <a:gd name="T69" fmla="*/ 162 h 887"/>
                <a:gd name="T70" fmla="*/ 1888 w 3621"/>
                <a:gd name="T71" fmla="*/ 390 h 887"/>
                <a:gd name="T72" fmla="*/ 2024 w 3621"/>
                <a:gd name="T73" fmla="*/ 242 h 887"/>
                <a:gd name="T74" fmla="*/ 1935 w 3621"/>
                <a:gd name="T75" fmla="*/ 200 h 887"/>
                <a:gd name="T76" fmla="*/ 2334 w 3621"/>
                <a:gd name="T77" fmla="*/ 213 h 887"/>
                <a:gd name="T78" fmla="*/ 2278 w 3621"/>
                <a:gd name="T79" fmla="*/ 118 h 887"/>
                <a:gd name="T80" fmla="*/ 2334 w 3621"/>
                <a:gd name="T81" fmla="*/ 370 h 887"/>
                <a:gd name="T82" fmla="*/ 2334 w 3621"/>
                <a:gd name="T83" fmla="*/ 248 h 887"/>
                <a:gd name="T84" fmla="*/ 2209 w 3621"/>
                <a:gd name="T85" fmla="*/ 309 h 887"/>
                <a:gd name="T86" fmla="*/ 2559 w 3621"/>
                <a:gd name="T87" fmla="*/ 118 h 887"/>
                <a:gd name="T88" fmla="*/ 2476 w 3621"/>
                <a:gd name="T89" fmla="*/ 257 h 887"/>
                <a:gd name="T90" fmla="*/ 2559 w 3621"/>
                <a:gd name="T91" fmla="*/ 395 h 887"/>
                <a:gd name="T92" fmla="*/ 2861 w 3621"/>
                <a:gd name="T93" fmla="*/ 390 h 887"/>
                <a:gd name="T94" fmla="*/ 2693 w 3621"/>
                <a:gd name="T95" fmla="*/ 0 h 887"/>
                <a:gd name="T96" fmla="*/ 2914 w 3621"/>
                <a:gd name="T97" fmla="*/ 123 h 887"/>
                <a:gd name="T98" fmla="*/ 3040 w 3621"/>
                <a:gd name="T99" fmla="*/ 159 h 887"/>
                <a:gd name="T100" fmla="*/ 3147 w 3621"/>
                <a:gd name="T101" fmla="*/ 209 h 887"/>
                <a:gd name="T102" fmla="*/ 3035 w 3621"/>
                <a:gd name="T103" fmla="*/ 394 h 887"/>
                <a:gd name="T104" fmla="*/ 3104 w 3621"/>
                <a:gd name="T105" fmla="*/ 213 h 887"/>
                <a:gd name="T106" fmla="*/ 3042 w 3621"/>
                <a:gd name="T107" fmla="*/ 357 h 887"/>
                <a:gd name="T108" fmla="*/ 3324 w 3621"/>
                <a:gd name="T109" fmla="*/ 161 h 887"/>
                <a:gd name="T110" fmla="*/ 3217 w 3621"/>
                <a:gd name="T111" fmla="*/ 123 h 887"/>
                <a:gd name="T112" fmla="*/ 3354 w 3621"/>
                <a:gd name="T113" fmla="*/ 122 h 887"/>
                <a:gd name="T114" fmla="*/ 3381 w 3621"/>
                <a:gd name="T115" fmla="*/ 257 h 887"/>
                <a:gd name="T116" fmla="*/ 3621 w 3621"/>
                <a:gd name="T117" fmla="*/ 0 h 887"/>
                <a:gd name="T118" fmla="*/ 3576 w 3621"/>
                <a:gd name="T119" fmla="*/ 203 h 887"/>
                <a:gd name="T120" fmla="*/ 3576 w 3621"/>
                <a:gd name="T121" fmla="*/ 311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21" h="887">
                  <a:moveTo>
                    <a:pt x="0" y="513"/>
                  </a:moveTo>
                  <a:cubicBezTo>
                    <a:pt x="96" y="513"/>
                    <a:pt x="96" y="513"/>
                    <a:pt x="96" y="513"/>
                  </a:cubicBezTo>
                  <a:cubicBezTo>
                    <a:pt x="96" y="798"/>
                    <a:pt x="96" y="798"/>
                    <a:pt x="96" y="798"/>
                  </a:cubicBezTo>
                  <a:cubicBezTo>
                    <a:pt x="261" y="798"/>
                    <a:pt x="261" y="798"/>
                    <a:pt x="261" y="798"/>
                  </a:cubicBezTo>
                  <a:cubicBezTo>
                    <a:pt x="261" y="881"/>
                    <a:pt x="261" y="881"/>
                    <a:pt x="261" y="881"/>
                  </a:cubicBezTo>
                  <a:cubicBezTo>
                    <a:pt x="0" y="881"/>
                    <a:pt x="0" y="881"/>
                    <a:pt x="0" y="881"/>
                  </a:cubicBezTo>
                  <a:lnTo>
                    <a:pt x="0" y="513"/>
                  </a:lnTo>
                  <a:close/>
                  <a:moveTo>
                    <a:pt x="453" y="718"/>
                  </a:moveTo>
                  <a:cubicBezTo>
                    <a:pt x="453" y="697"/>
                    <a:pt x="434" y="682"/>
                    <a:pt x="396" y="682"/>
                  </a:cubicBezTo>
                  <a:cubicBezTo>
                    <a:pt x="370" y="682"/>
                    <a:pt x="343" y="689"/>
                    <a:pt x="322" y="702"/>
                  </a:cubicBezTo>
                  <a:cubicBezTo>
                    <a:pt x="322" y="626"/>
                    <a:pt x="322" y="626"/>
                    <a:pt x="322" y="626"/>
                  </a:cubicBezTo>
                  <a:cubicBezTo>
                    <a:pt x="344" y="614"/>
                    <a:pt x="380" y="605"/>
                    <a:pt x="418" y="605"/>
                  </a:cubicBezTo>
                  <a:cubicBezTo>
                    <a:pt x="498" y="605"/>
                    <a:pt x="544" y="643"/>
                    <a:pt x="544" y="714"/>
                  </a:cubicBezTo>
                  <a:cubicBezTo>
                    <a:pt x="544" y="881"/>
                    <a:pt x="544" y="881"/>
                    <a:pt x="544" y="881"/>
                  </a:cubicBezTo>
                  <a:cubicBezTo>
                    <a:pt x="453" y="881"/>
                    <a:pt x="453" y="881"/>
                    <a:pt x="453" y="881"/>
                  </a:cubicBezTo>
                  <a:cubicBezTo>
                    <a:pt x="453" y="867"/>
                    <a:pt x="453" y="867"/>
                    <a:pt x="453" y="867"/>
                  </a:cubicBezTo>
                  <a:cubicBezTo>
                    <a:pt x="444" y="876"/>
                    <a:pt x="418" y="886"/>
                    <a:pt x="390" y="886"/>
                  </a:cubicBezTo>
                  <a:cubicBezTo>
                    <a:pt x="336" y="886"/>
                    <a:pt x="291" y="856"/>
                    <a:pt x="291" y="799"/>
                  </a:cubicBezTo>
                  <a:cubicBezTo>
                    <a:pt x="291" y="747"/>
                    <a:pt x="336" y="713"/>
                    <a:pt x="394" y="713"/>
                  </a:cubicBezTo>
                  <a:cubicBezTo>
                    <a:pt x="417" y="713"/>
                    <a:pt x="442" y="720"/>
                    <a:pt x="453" y="728"/>
                  </a:cubicBezTo>
                  <a:lnTo>
                    <a:pt x="453" y="718"/>
                  </a:lnTo>
                  <a:close/>
                  <a:moveTo>
                    <a:pt x="453" y="790"/>
                  </a:moveTo>
                  <a:cubicBezTo>
                    <a:pt x="447" y="778"/>
                    <a:pt x="432" y="771"/>
                    <a:pt x="415" y="771"/>
                  </a:cubicBezTo>
                  <a:cubicBezTo>
                    <a:pt x="397" y="771"/>
                    <a:pt x="378" y="779"/>
                    <a:pt x="378" y="797"/>
                  </a:cubicBezTo>
                  <a:cubicBezTo>
                    <a:pt x="378" y="816"/>
                    <a:pt x="397" y="823"/>
                    <a:pt x="415" y="823"/>
                  </a:cubicBezTo>
                  <a:cubicBezTo>
                    <a:pt x="432" y="823"/>
                    <a:pt x="447" y="816"/>
                    <a:pt x="453" y="805"/>
                  </a:cubicBezTo>
                  <a:lnTo>
                    <a:pt x="453" y="790"/>
                  </a:lnTo>
                  <a:close/>
                  <a:moveTo>
                    <a:pt x="680" y="881"/>
                  </a:moveTo>
                  <a:cubicBezTo>
                    <a:pt x="586" y="881"/>
                    <a:pt x="586" y="881"/>
                    <a:pt x="586" y="881"/>
                  </a:cubicBezTo>
                  <a:cubicBezTo>
                    <a:pt x="586" y="491"/>
                    <a:pt x="586" y="491"/>
                    <a:pt x="586" y="491"/>
                  </a:cubicBezTo>
                  <a:cubicBezTo>
                    <a:pt x="680" y="491"/>
                    <a:pt x="680" y="491"/>
                    <a:pt x="680" y="491"/>
                  </a:cubicBezTo>
                  <a:cubicBezTo>
                    <a:pt x="680" y="633"/>
                    <a:pt x="680" y="633"/>
                    <a:pt x="680" y="633"/>
                  </a:cubicBezTo>
                  <a:cubicBezTo>
                    <a:pt x="693" y="618"/>
                    <a:pt x="719" y="605"/>
                    <a:pt x="747" y="605"/>
                  </a:cubicBezTo>
                  <a:cubicBezTo>
                    <a:pt x="825" y="605"/>
                    <a:pt x="867" y="668"/>
                    <a:pt x="867" y="746"/>
                  </a:cubicBezTo>
                  <a:cubicBezTo>
                    <a:pt x="867" y="824"/>
                    <a:pt x="825" y="887"/>
                    <a:pt x="747" y="887"/>
                  </a:cubicBezTo>
                  <a:cubicBezTo>
                    <a:pt x="719" y="887"/>
                    <a:pt x="693" y="874"/>
                    <a:pt x="680" y="859"/>
                  </a:cubicBezTo>
                  <a:lnTo>
                    <a:pt x="680" y="881"/>
                  </a:lnTo>
                  <a:close/>
                  <a:moveTo>
                    <a:pt x="680" y="781"/>
                  </a:moveTo>
                  <a:cubicBezTo>
                    <a:pt x="687" y="796"/>
                    <a:pt x="703" y="807"/>
                    <a:pt x="721" y="807"/>
                  </a:cubicBezTo>
                  <a:cubicBezTo>
                    <a:pt x="754" y="807"/>
                    <a:pt x="773" y="781"/>
                    <a:pt x="773" y="746"/>
                  </a:cubicBezTo>
                  <a:cubicBezTo>
                    <a:pt x="773" y="711"/>
                    <a:pt x="754" y="685"/>
                    <a:pt x="721" y="685"/>
                  </a:cubicBezTo>
                  <a:cubicBezTo>
                    <a:pt x="703" y="685"/>
                    <a:pt x="687" y="696"/>
                    <a:pt x="680" y="710"/>
                  </a:cubicBezTo>
                  <a:lnTo>
                    <a:pt x="680" y="781"/>
                  </a:lnTo>
                  <a:close/>
                  <a:moveTo>
                    <a:pt x="894" y="782"/>
                  </a:moveTo>
                  <a:cubicBezTo>
                    <a:pt x="920" y="803"/>
                    <a:pt x="962" y="816"/>
                    <a:pt x="990" y="816"/>
                  </a:cubicBezTo>
                  <a:cubicBezTo>
                    <a:pt x="1008" y="816"/>
                    <a:pt x="1020" y="812"/>
                    <a:pt x="1020" y="800"/>
                  </a:cubicBezTo>
                  <a:cubicBezTo>
                    <a:pt x="1020" y="789"/>
                    <a:pt x="1012" y="785"/>
                    <a:pt x="996" y="781"/>
                  </a:cubicBezTo>
                  <a:cubicBezTo>
                    <a:pt x="975" y="776"/>
                    <a:pt x="975" y="776"/>
                    <a:pt x="975" y="776"/>
                  </a:cubicBezTo>
                  <a:cubicBezTo>
                    <a:pt x="925" y="765"/>
                    <a:pt x="893" y="742"/>
                    <a:pt x="893" y="693"/>
                  </a:cubicBezTo>
                  <a:cubicBezTo>
                    <a:pt x="893" y="637"/>
                    <a:pt x="940" y="605"/>
                    <a:pt x="1003" y="605"/>
                  </a:cubicBezTo>
                  <a:cubicBezTo>
                    <a:pt x="1042" y="605"/>
                    <a:pt x="1071" y="613"/>
                    <a:pt x="1097" y="629"/>
                  </a:cubicBezTo>
                  <a:cubicBezTo>
                    <a:pt x="1097" y="706"/>
                    <a:pt x="1097" y="706"/>
                    <a:pt x="1097" y="706"/>
                  </a:cubicBezTo>
                  <a:cubicBezTo>
                    <a:pt x="1072" y="688"/>
                    <a:pt x="1043" y="675"/>
                    <a:pt x="1012" y="675"/>
                  </a:cubicBezTo>
                  <a:cubicBezTo>
                    <a:pt x="996" y="675"/>
                    <a:pt x="985" y="681"/>
                    <a:pt x="985" y="691"/>
                  </a:cubicBezTo>
                  <a:cubicBezTo>
                    <a:pt x="985" y="702"/>
                    <a:pt x="993" y="705"/>
                    <a:pt x="1006" y="709"/>
                  </a:cubicBezTo>
                  <a:cubicBezTo>
                    <a:pt x="1031" y="716"/>
                    <a:pt x="1031" y="716"/>
                    <a:pt x="1031" y="716"/>
                  </a:cubicBezTo>
                  <a:cubicBezTo>
                    <a:pt x="1090" y="732"/>
                    <a:pt x="1113" y="756"/>
                    <a:pt x="1113" y="801"/>
                  </a:cubicBezTo>
                  <a:cubicBezTo>
                    <a:pt x="1113" y="859"/>
                    <a:pt x="1063" y="887"/>
                    <a:pt x="997" y="887"/>
                  </a:cubicBezTo>
                  <a:cubicBezTo>
                    <a:pt x="959" y="887"/>
                    <a:pt x="919" y="878"/>
                    <a:pt x="894" y="861"/>
                  </a:cubicBezTo>
                  <a:lnTo>
                    <a:pt x="894" y="782"/>
                  </a:lnTo>
                  <a:close/>
                  <a:moveTo>
                    <a:pt x="303" y="21"/>
                  </a:moveTo>
                  <a:cubicBezTo>
                    <a:pt x="303" y="390"/>
                    <a:pt x="303" y="390"/>
                    <a:pt x="303" y="390"/>
                  </a:cubicBezTo>
                  <a:cubicBezTo>
                    <a:pt x="255" y="390"/>
                    <a:pt x="255" y="390"/>
                    <a:pt x="255" y="390"/>
                  </a:cubicBezTo>
                  <a:cubicBezTo>
                    <a:pt x="255" y="222"/>
                    <a:pt x="255" y="222"/>
                    <a:pt x="255" y="222"/>
                  </a:cubicBezTo>
                  <a:cubicBezTo>
                    <a:pt x="47" y="222"/>
                    <a:pt x="47" y="222"/>
                    <a:pt x="47" y="222"/>
                  </a:cubicBezTo>
                  <a:cubicBezTo>
                    <a:pt x="47" y="390"/>
                    <a:pt x="47" y="390"/>
                    <a:pt x="47" y="390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255" y="179"/>
                    <a:pt x="255" y="179"/>
                    <a:pt x="255" y="179"/>
                  </a:cubicBezTo>
                  <a:cubicBezTo>
                    <a:pt x="255" y="21"/>
                    <a:pt x="255" y="21"/>
                    <a:pt x="255" y="21"/>
                  </a:cubicBezTo>
                  <a:lnTo>
                    <a:pt x="303" y="21"/>
                  </a:lnTo>
                  <a:close/>
                  <a:moveTo>
                    <a:pt x="404" y="264"/>
                  </a:moveTo>
                  <a:cubicBezTo>
                    <a:pt x="406" y="326"/>
                    <a:pt x="445" y="356"/>
                    <a:pt x="493" y="356"/>
                  </a:cubicBezTo>
                  <a:cubicBezTo>
                    <a:pt x="523" y="356"/>
                    <a:pt x="545" y="348"/>
                    <a:pt x="569" y="330"/>
                  </a:cubicBezTo>
                  <a:cubicBezTo>
                    <a:pt x="569" y="372"/>
                    <a:pt x="569" y="372"/>
                    <a:pt x="569" y="372"/>
                  </a:cubicBezTo>
                  <a:cubicBezTo>
                    <a:pt x="547" y="389"/>
                    <a:pt x="520" y="395"/>
                    <a:pt x="488" y="395"/>
                  </a:cubicBezTo>
                  <a:cubicBezTo>
                    <a:pt x="411" y="395"/>
                    <a:pt x="359" y="343"/>
                    <a:pt x="359" y="259"/>
                  </a:cubicBezTo>
                  <a:cubicBezTo>
                    <a:pt x="359" y="176"/>
                    <a:pt x="407" y="118"/>
                    <a:pt x="478" y="118"/>
                  </a:cubicBezTo>
                  <a:cubicBezTo>
                    <a:pt x="550" y="118"/>
                    <a:pt x="587" y="170"/>
                    <a:pt x="587" y="248"/>
                  </a:cubicBezTo>
                  <a:cubicBezTo>
                    <a:pt x="587" y="264"/>
                    <a:pt x="587" y="264"/>
                    <a:pt x="587" y="264"/>
                  </a:cubicBezTo>
                  <a:lnTo>
                    <a:pt x="404" y="264"/>
                  </a:lnTo>
                  <a:close/>
                  <a:moveTo>
                    <a:pt x="406" y="229"/>
                  </a:moveTo>
                  <a:cubicBezTo>
                    <a:pt x="544" y="229"/>
                    <a:pt x="544" y="229"/>
                    <a:pt x="544" y="229"/>
                  </a:cubicBezTo>
                  <a:cubicBezTo>
                    <a:pt x="542" y="190"/>
                    <a:pt x="522" y="156"/>
                    <a:pt x="479" y="156"/>
                  </a:cubicBezTo>
                  <a:cubicBezTo>
                    <a:pt x="443" y="156"/>
                    <a:pt x="415" y="180"/>
                    <a:pt x="406" y="229"/>
                  </a:cubicBezTo>
                  <a:close/>
                  <a:moveTo>
                    <a:pt x="863" y="327"/>
                  </a:moveTo>
                  <a:cubicBezTo>
                    <a:pt x="921" y="123"/>
                    <a:pt x="921" y="123"/>
                    <a:pt x="921" y="123"/>
                  </a:cubicBezTo>
                  <a:cubicBezTo>
                    <a:pt x="965" y="123"/>
                    <a:pt x="965" y="123"/>
                    <a:pt x="965" y="123"/>
                  </a:cubicBezTo>
                  <a:cubicBezTo>
                    <a:pt x="887" y="390"/>
                    <a:pt x="887" y="390"/>
                    <a:pt x="887" y="390"/>
                  </a:cubicBezTo>
                  <a:cubicBezTo>
                    <a:pt x="843" y="390"/>
                    <a:pt x="843" y="390"/>
                    <a:pt x="843" y="390"/>
                  </a:cubicBezTo>
                  <a:cubicBezTo>
                    <a:pt x="788" y="188"/>
                    <a:pt x="788" y="188"/>
                    <a:pt x="788" y="188"/>
                  </a:cubicBezTo>
                  <a:cubicBezTo>
                    <a:pt x="732" y="390"/>
                    <a:pt x="732" y="390"/>
                    <a:pt x="732" y="390"/>
                  </a:cubicBezTo>
                  <a:cubicBezTo>
                    <a:pt x="688" y="390"/>
                    <a:pt x="688" y="390"/>
                    <a:pt x="688" y="390"/>
                  </a:cubicBezTo>
                  <a:cubicBezTo>
                    <a:pt x="610" y="123"/>
                    <a:pt x="610" y="123"/>
                    <a:pt x="610" y="123"/>
                  </a:cubicBezTo>
                  <a:cubicBezTo>
                    <a:pt x="655" y="123"/>
                    <a:pt x="655" y="123"/>
                    <a:pt x="655" y="123"/>
                  </a:cubicBezTo>
                  <a:cubicBezTo>
                    <a:pt x="713" y="327"/>
                    <a:pt x="713" y="327"/>
                    <a:pt x="713" y="327"/>
                  </a:cubicBezTo>
                  <a:cubicBezTo>
                    <a:pt x="768" y="123"/>
                    <a:pt x="768" y="123"/>
                    <a:pt x="768" y="123"/>
                  </a:cubicBezTo>
                  <a:cubicBezTo>
                    <a:pt x="808" y="123"/>
                    <a:pt x="808" y="123"/>
                    <a:pt x="808" y="123"/>
                  </a:cubicBezTo>
                  <a:lnTo>
                    <a:pt x="863" y="327"/>
                  </a:lnTo>
                  <a:close/>
                  <a:moveTo>
                    <a:pt x="1060" y="390"/>
                  </a:moveTo>
                  <a:cubicBezTo>
                    <a:pt x="1015" y="390"/>
                    <a:pt x="1015" y="390"/>
                    <a:pt x="1015" y="390"/>
                  </a:cubicBezTo>
                  <a:cubicBezTo>
                    <a:pt x="1015" y="0"/>
                    <a:pt x="1015" y="0"/>
                    <a:pt x="1015" y="0"/>
                  </a:cubicBezTo>
                  <a:cubicBezTo>
                    <a:pt x="1060" y="0"/>
                    <a:pt x="1060" y="0"/>
                    <a:pt x="1060" y="0"/>
                  </a:cubicBezTo>
                  <a:lnTo>
                    <a:pt x="1060" y="390"/>
                  </a:lnTo>
                  <a:close/>
                  <a:moveTo>
                    <a:pt x="1160" y="264"/>
                  </a:moveTo>
                  <a:cubicBezTo>
                    <a:pt x="1162" y="326"/>
                    <a:pt x="1201" y="356"/>
                    <a:pt x="1250" y="356"/>
                  </a:cubicBezTo>
                  <a:cubicBezTo>
                    <a:pt x="1280" y="356"/>
                    <a:pt x="1301" y="348"/>
                    <a:pt x="1325" y="330"/>
                  </a:cubicBezTo>
                  <a:cubicBezTo>
                    <a:pt x="1325" y="372"/>
                    <a:pt x="1325" y="372"/>
                    <a:pt x="1325" y="372"/>
                  </a:cubicBezTo>
                  <a:cubicBezTo>
                    <a:pt x="1304" y="389"/>
                    <a:pt x="1276" y="395"/>
                    <a:pt x="1244" y="395"/>
                  </a:cubicBezTo>
                  <a:cubicBezTo>
                    <a:pt x="1168" y="395"/>
                    <a:pt x="1116" y="343"/>
                    <a:pt x="1116" y="259"/>
                  </a:cubicBezTo>
                  <a:cubicBezTo>
                    <a:pt x="1116" y="176"/>
                    <a:pt x="1164" y="118"/>
                    <a:pt x="1235" y="118"/>
                  </a:cubicBezTo>
                  <a:cubicBezTo>
                    <a:pt x="1307" y="118"/>
                    <a:pt x="1344" y="170"/>
                    <a:pt x="1344" y="248"/>
                  </a:cubicBezTo>
                  <a:cubicBezTo>
                    <a:pt x="1344" y="264"/>
                    <a:pt x="1344" y="264"/>
                    <a:pt x="1344" y="264"/>
                  </a:cubicBezTo>
                  <a:lnTo>
                    <a:pt x="1160" y="264"/>
                  </a:lnTo>
                  <a:close/>
                  <a:moveTo>
                    <a:pt x="1163" y="229"/>
                  </a:moveTo>
                  <a:cubicBezTo>
                    <a:pt x="1300" y="229"/>
                    <a:pt x="1300" y="229"/>
                    <a:pt x="1300" y="229"/>
                  </a:cubicBezTo>
                  <a:cubicBezTo>
                    <a:pt x="1298" y="190"/>
                    <a:pt x="1279" y="156"/>
                    <a:pt x="1235" y="156"/>
                  </a:cubicBezTo>
                  <a:cubicBezTo>
                    <a:pt x="1200" y="156"/>
                    <a:pt x="1171" y="180"/>
                    <a:pt x="1163" y="229"/>
                  </a:cubicBezTo>
                  <a:close/>
                  <a:moveTo>
                    <a:pt x="1591" y="162"/>
                  </a:moveTo>
                  <a:cubicBezTo>
                    <a:pt x="1591" y="390"/>
                    <a:pt x="1591" y="390"/>
                    <a:pt x="1591" y="390"/>
                  </a:cubicBezTo>
                  <a:cubicBezTo>
                    <a:pt x="1636" y="390"/>
                    <a:pt x="1636" y="390"/>
                    <a:pt x="1636" y="390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97" y="162"/>
                    <a:pt x="1697" y="162"/>
                    <a:pt x="1697" y="162"/>
                  </a:cubicBezTo>
                  <a:cubicBezTo>
                    <a:pt x="1697" y="123"/>
                    <a:pt x="1697" y="123"/>
                    <a:pt x="1697" y="123"/>
                  </a:cubicBezTo>
                  <a:cubicBezTo>
                    <a:pt x="1636" y="123"/>
                    <a:pt x="1636" y="123"/>
                    <a:pt x="1636" y="123"/>
                  </a:cubicBezTo>
                  <a:cubicBezTo>
                    <a:pt x="1636" y="53"/>
                    <a:pt x="1636" y="53"/>
                    <a:pt x="1636" y="53"/>
                  </a:cubicBezTo>
                  <a:cubicBezTo>
                    <a:pt x="1591" y="53"/>
                    <a:pt x="1591" y="53"/>
                    <a:pt x="1591" y="53"/>
                  </a:cubicBezTo>
                  <a:cubicBezTo>
                    <a:pt x="1591" y="123"/>
                    <a:pt x="1591" y="123"/>
                    <a:pt x="1591" y="123"/>
                  </a:cubicBezTo>
                  <a:cubicBezTo>
                    <a:pt x="1472" y="123"/>
                    <a:pt x="1472" y="123"/>
                    <a:pt x="1472" y="123"/>
                  </a:cubicBezTo>
                  <a:cubicBezTo>
                    <a:pt x="1472" y="53"/>
                    <a:pt x="1472" y="53"/>
                    <a:pt x="1472" y="53"/>
                  </a:cubicBezTo>
                  <a:cubicBezTo>
                    <a:pt x="1427" y="53"/>
                    <a:pt x="1427" y="53"/>
                    <a:pt x="1427" y="53"/>
                  </a:cubicBezTo>
                  <a:cubicBezTo>
                    <a:pt x="1427" y="123"/>
                    <a:pt x="1427" y="123"/>
                    <a:pt x="1427" y="123"/>
                  </a:cubicBezTo>
                  <a:cubicBezTo>
                    <a:pt x="1371" y="123"/>
                    <a:pt x="1371" y="123"/>
                    <a:pt x="1371" y="123"/>
                  </a:cubicBezTo>
                  <a:cubicBezTo>
                    <a:pt x="1371" y="162"/>
                    <a:pt x="1371" y="162"/>
                    <a:pt x="1371" y="162"/>
                  </a:cubicBezTo>
                  <a:cubicBezTo>
                    <a:pt x="1427" y="162"/>
                    <a:pt x="1427" y="162"/>
                    <a:pt x="1427" y="162"/>
                  </a:cubicBezTo>
                  <a:cubicBezTo>
                    <a:pt x="1427" y="390"/>
                    <a:pt x="1427" y="390"/>
                    <a:pt x="1427" y="390"/>
                  </a:cubicBezTo>
                  <a:cubicBezTo>
                    <a:pt x="1472" y="390"/>
                    <a:pt x="1472" y="390"/>
                    <a:pt x="1472" y="390"/>
                  </a:cubicBezTo>
                  <a:cubicBezTo>
                    <a:pt x="1472" y="162"/>
                    <a:pt x="1472" y="162"/>
                    <a:pt x="1472" y="162"/>
                  </a:cubicBezTo>
                  <a:lnTo>
                    <a:pt x="1591" y="162"/>
                  </a:lnTo>
                  <a:close/>
                  <a:moveTo>
                    <a:pt x="1935" y="242"/>
                  </a:moveTo>
                  <a:cubicBezTo>
                    <a:pt x="1935" y="390"/>
                    <a:pt x="1935" y="390"/>
                    <a:pt x="1935" y="390"/>
                  </a:cubicBezTo>
                  <a:cubicBezTo>
                    <a:pt x="1888" y="390"/>
                    <a:pt x="1888" y="390"/>
                    <a:pt x="1888" y="390"/>
                  </a:cubicBezTo>
                  <a:cubicBezTo>
                    <a:pt x="1888" y="21"/>
                    <a:pt x="1888" y="21"/>
                    <a:pt x="1888" y="21"/>
                  </a:cubicBezTo>
                  <a:cubicBezTo>
                    <a:pt x="2024" y="21"/>
                    <a:pt x="2024" y="21"/>
                    <a:pt x="2024" y="21"/>
                  </a:cubicBezTo>
                  <a:cubicBezTo>
                    <a:pt x="2099" y="21"/>
                    <a:pt x="2147" y="59"/>
                    <a:pt x="2147" y="132"/>
                  </a:cubicBezTo>
                  <a:cubicBezTo>
                    <a:pt x="2147" y="204"/>
                    <a:pt x="2099" y="242"/>
                    <a:pt x="2024" y="242"/>
                  </a:cubicBezTo>
                  <a:lnTo>
                    <a:pt x="1935" y="242"/>
                  </a:lnTo>
                  <a:close/>
                  <a:moveTo>
                    <a:pt x="2024" y="63"/>
                  </a:moveTo>
                  <a:cubicBezTo>
                    <a:pt x="1935" y="63"/>
                    <a:pt x="1935" y="63"/>
                    <a:pt x="1935" y="63"/>
                  </a:cubicBezTo>
                  <a:cubicBezTo>
                    <a:pt x="1935" y="200"/>
                    <a:pt x="1935" y="200"/>
                    <a:pt x="1935" y="200"/>
                  </a:cubicBezTo>
                  <a:cubicBezTo>
                    <a:pt x="2024" y="200"/>
                    <a:pt x="2024" y="200"/>
                    <a:pt x="2024" y="200"/>
                  </a:cubicBezTo>
                  <a:cubicBezTo>
                    <a:pt x="2073" y="200"/>
                    <a:pt x="2100" y="173"/>
                    <a:pt x="2100" y="132"/>
                  </a:cubicBezTo>
                  <a:cubicBezTo>
                    <a:pt x="2100" y="90"/>
                    <a:pt x="2073" y="63"/>
                    <a:pt x="2024" y="63"/>
                  </a:cubicBezTo>
                  <a:close/>
                  <a:moveTo>
                    <a:pt x="2334" y="213"/>
                  </a:moveTo>
                  <a:cubicBezTo>
                    <a:pt x="2334" y="180"/>
                    <a:pt x="2310" y="159"/>
                    <a:pt x="2271" y="159"/>
                  </a:cubicBezTo>
                  <a:cubicBezTo>
                    <a:pt x="2241" y="159"/>
                    <a:pt x="2217" y="168"/>
                    <a:pt x="2195" y="183"/>
                  </a:cubicBezTo>
                  <a:cubicBezTo>
                    <a:pt x="2195" y="140"/>
                    <a:pt x="2195" y="140"/>
                    <a:pt x="2195" y="140"/>
                  </a:cubicBezTo>
                  <a:cubicBezTo>
                    <a:pt x="2213" y="128"/>
                    <a:pt x="2245" y="118"/>
                    <a:pt x="2278" y="118"/>
                  </a:cubicBezTo>
                  <a:cubicBezTo>
                    <a:pt x="2341" y="118"/>
                    <a:pt x="2378" y="153"/>
                    <a:pt x="2378" y="209"/>
                  </a:cubicBezTo>
                  <a:cubicBezTo>
                    <a:pt x="2378" y="390"/>
                    <a:pt x="2378" y="390"/>
                    <a:pt x="2378" y="390"/>
                  </a:cubicBezTo>
                  <a:cubicBezTo>
                    <a:pt x="2334" y="390"/>
                    <a:pt x="2334" y="390"/>
                    <a:pt x="2334" y="390"/>
                  </a:cubicBezTo>
                  <a:cubicBezTo>
                    <a:pt x="2334" y="370"/>
                    <a:pt x="2334" y="370"/>
                    <a:pt x="2334" y="370"/>
                  </a:cubicBezTo>
                  <a:cubicBezTo>
                    <a:pt x="2324" y="381"/>
                    <a:pt x="2296" y="394"/>
                    <a:pt x="2265" y="394"/>
                  </a:cubicBezTo>
                  <a:cubicBezTo>
                    <a:pt x="2211" y="394"/>
                    <a:pt x="2166" y="362"/>
                    <a:pt x="2166" y="309"/>
                  </a:cubicBezTo>
                  <a:cubicBezTo>
                    <a:pt x="2166" y="260"/>
                    <a:pt x="2211" y="226"/>
                    <a:pt x="2268" y="226"/>
                  </a:cubicBezTo>
                  <a:cubicBezTo>
                    <a:pt x="2295" y="226"/>
                    <a:pt x="2323" y="237"/>
                    <a:pt x="2334" y="248"/>
                  </a:cubicBezTo>
                  <a:lnTo>
                    <a:pt x="2334" y="213"/>
                  </a:lnTo>
                  <a:close/>
                  <a:moveTo>
                    <a:pt x="2334" y="296"/>
                  </a:moveTo>
                  <a:cubicBezTo>
                    <a:pt x="2327" y="276"/>
                    <a:pt x="2301" y="263"/>
                    <a:pt x="2272" y="263"/>
                  </a:cubicBezTo>
                  <a:cubicBezTo>
                    <a:pt x="2240" y="263"/>
                    <a:pt x="2209" y="278"/>
                    <a:pt x="2209" y="309"/>
                  </a:cubicBezTo>
                  <a:cubicBezTo>
                    <a:pt x="2209" y="342"/>
                    <a:pt x="2240" y="357"/>
                    <a:pt x="2272" y="357"/>
                  </a:cubicBezTo>
                  <a:cubicBezTo>
                    <a:pt x="2301" y="357"/>
                    <a:pt x="2327" y="344"/>
                    <a:pt x="2334" y="324"/>
                  </a:cubicBezTo>
                  <a:lnTo>
                    <a:pt x="2334" y="296"/>
                  </a:lnTo>
                  <a:close/>
                  <a:moveTo>
                    <a:pt x="2559" y="118"/>
                  </a:moveTo>
                  <a:cubicBezTo>
                    <a:pt x="2585" y="118"/>
                    <a:pt x="2612" y="124"/>
                    <a:pt x="2631" y="140"/>
                  </a:cubicBezTo>
                  <a:cubicBezTo>
                    <a:pt x="2631" y="186"/>
                    <a:pt x="2631" y="186"/>
                    <a:pt x="2631" y="186"/>
                  </a:cubicBezTo>
                  <a:cubicBezTo>
                    <a:pt x="2611" y="167"/>
                    <a:pt x="2588" y="158"/>
                    <a:pt x="2562" y="158"/>
                  </a:cubicBezTo>
                  <a:cubicBezTo>
                    <a:pt x="2515" y="158"/>
                    <a:pt x="2476" y="195"/>
                    <a:pt x="2476" y="257"/>
                  </a:cubicBezTo>
                  <a:cubicBezTo>
                    <a:pt x="2476" y="318"/>
                    <a:pt x="2515" y="355"/>
                    <a:pt x="2562" y="355"/>
                  </a:cubicBezTo>
                  <a:cubicBezTo>
                    <a:pt x="2588" y="355"/>
                    <a:pt x="2611" y="347"/>
                    <a:pt x="2631" y="327"/>
                  </a:cubicBezTo>
                  <a:cubicBezTo>
                    <a:pt x="2631" y="373"/>
                    <a:pt x="2631" y="373"/>
                    <a:pt x="2631" y="373"/>
                  </a:cubicBezTo>
                  <a:cubicBezTo>
                    <a:pt x="2612" y="389"/>
                    <a:pt x="2585" y="395"/>
                    <a:pt x="2559" y="395"/>
                  </a:cubicBezTo>
                  <a:cubicBezTo>
                    <a:pt x="2487" y="395"/>
                    <a:pt x="2431" y="342"/>
                    <a:pt x="2431" y="257"/>
                  </a:cubicBezTo>
                  <a:cubicBezTo>
                    <a:pt x="2431" y="171"/>
                    <a:pt x="2487" y="118"/>
                    <a:pt x="2559" y="118"/>
                  </a:cubicBezTo>
                  <a:close/>
                  <a:moveTo>
                    <a:pt x="2917" y="390"/>
                  </a:moveTo>
                  <a:cubicBezTo>
                    <a:pt x="2861" y="390"/>
                    <a:pt x="2861" y="390"/>
                    <a:pt x="2861" y="390"/>
                  </a:cubicBezTo>
                  <a:cubicBezTo>
                    <a:pt x="2738" y="258"/>
                    <a:pt x="2738" y="258"/>
                    <a:pt x="2738" y="258"/>
                  </a:cubicBezTo>
                  <a:cubicBezTo>
                    <a:pt x="2738" y="390"/>
                    <a:pt x="2738" y="390"/>
                    <a:pt x="2738" y="390"/>
                  </a:cubicBezTo>
                  <a:cubicBezTo>
                    <a:pt x="2693" y="390"/>
                    <a:pt x="2693" y="390"/>
                    <a:pt x="2693" y="390"/>
                  </a:cubicBezTo>
                  <a:cubicBezTo>
                    <a:pt x="2693" y="0"/>
                    <a:pt x="2693" y="0"/>
                    <a:pt x="2693" y="0"/>
                  </a:cubicBezTo>
                  <a:cubicBezTo>
                    <a:pt x="2738" y="0"/>
                    <a:pt x="2738" y="0"/>
                    <a:pt x="2738" y="0"/>
                  </a:cubicBezTo>
                  <a:cubicBezTo>
                    <a:pt x="2738" y="236"/>
                    <a:pt x="2738" y="236"/>
                    <a:pt x="2738" y="236"/>
                  </a:cubicBezTo>
                  <a:cubicBezTo>
                    <a:pt x="2856" y="123"/>
                    <a:pt x="2856" y="123"/>
                    <a:pt x="2856" y="123"/>
                  </a:cubicBezTo>
                  <a:cubicBezTo>
                    <a:pt x="2914" y="123"/>
                    <a:pt x="2914" y="123"/>
                    <a:pt x="2914" y="123"/>
                  </a:cubicBezTo>
                  <a:cubicBezTo>
                    <a:pt x="2784" y="245"/>
                    <a:pt x="2784" y="245"/>
                    <a:pt x="2784" y="245"/>
                  </a:cubicBezTo>
                  <a:lnTo>
                    <a:pt x="2917" y="390"/>
                  </a:lnTo>
                  <a:close/>
                  <a:moveTo>
                    <a:pt x="3104" y="213"/>
                  </a:moveTo>
                  <a:cubicBezTo>
                    <a:pt x="3104" y="180"/>
                    <a:pt x="3079" y="159"/>
                    <a:pt x="3040" y="159"/>
                  </a:cubicBezTo>
                  <a:cubicBezTo>
                    <a:pt x="3011" y="159"/>
                    <a:pt x="2987" y="168"/>
                    <a:pt x="2965" y="183"/>
                  </a:cubicBezTo>
                  <a:cubicBezTo>
                    <a:pt x="2965" y="140"/>
                    <a:pt x="2965" y="140"/>
                    <a:pt x="2965" y="140"/>
                  </a:cubicBezTo>
                  <a:cubicBezTo>
                    <a:pt x="2982" y="128"/>
                    <a:pt x="3014" y="118"/>
                    <a:pt x="3047" y="118"/>
                  </a:cubicBezTo>
                  <a:cubicBezTo>
                    <a:pt x="3110" y="118"/>
                    <a:pt x="3147" y="153"/>
                    <a:pt x="3147" y="209"/>
                  </a:cubicBezTo>
                  <a:cubicBezTo>
                    <a:pt x="3147" y="390"/>
                    <a:pt x="3147" y="390"/>
                    <a:pt x="3147" y="390"/>
                  </a:cubicBezTo>
                  <a:cubicBezTo>
                    <a:pt x="3104" y="390"/>
                    <a:pt x="3104" y="390"/>
                    <a:pt x="3104" y="390"/>
                  </a:cubicBezTo>
                  <a:cubicBezTo>
                    <a:pt x="3104" y="370"/>
                    <a:pt x="3104" y="370"/>
                    <a:pt x="3104" y="370"/>
                  </a:cubicBezTo>
                  <a:cubicBezTo>
                    <a:pt x="3093" y="381"/>
                    <a:pt x="3066" y="394"/>
                    <a:pt x="3035" y="394"/>
                  </a:cubicBezTo>
                  <a:cubicBezTo>
                    <a:pt x="2980" y="394"/>
                    <a:pt x="2936" y="362"/>
                    <a:pt x="2936" y="309"/>
                  </a:cubicBezTo>
                  <a:cubicBezTo>
                    <a:pt x="2936" y="260"/>
                    <a:pt x="2980" y="226"/>
                    <a:pt x="3037" y="226"/>
                  </a:cubicBezTo>
                  <a:cubicBezTo>
                    <a:pt x="3065" y="226"/>
                    <a:pt x="3092" y="237"/>
                    <a:pt x="3104" y="248"/>
                  </a:cubicBezTo>
                  <a:lnTo>
                    <a:pt x="3104" y="213"/>
                  </a:lnTo>
                  <a:close/>
                  <a:moveTo>
                    <a:pt x="3104" y="296"/>
                  </a:moveTo>
                  <a:cubicBezTo>
                    <a:pt x="3096" y="276"/>
                    <a:pt x="3070" y="263"/>
                    <a:pt x="3042" y="263"/>
                  </a:cubicBezTo>
                  <a:cubicBezTo>
                    <a:pt x="3009" y="263"/>
                    <a:pt x="2978" y="278"/>
                    <a:pt x="2978" y="309"/>
                  </a:cubicBezTo>
                  <a:cubicBezTo>
                    <a:pt x="2978" y="342"/>
                    <a:pt x="3009" y="357"/>
                    <a:pt x="3042" y="357"/>
                  </a:cubicBezTo>
                  <a:cubicBezTo>
                    <a:pt x="3070" y="357"/>
                    <a:pt x="3096" y="344"/>
                    <a:pt x="3104" y="324"/>
                  </a:cubicBezTo>
                  <a:lnTo>
                    <a:pt x="3104" y="296"/>
                  </a:lnTo>
                  <a:close/>
                  <a:moveTo>
                    <a:pt x="3354" y="168"/>
                  </a:moveTo>
                  <a:cubicBezTo>
                    <a:pt x="3347" y="164"/>
                    <a:pt x="3335" y="161"/>
                    <a:pt x="3324" y="161"/>
                  </a:cubicBezTo>
                  <a:cubicBezTo>
                    <a:pt x="3296" y="161"/>
                    <a:pt x="3271" y="180"/>
                    <a:pt x="3262" y="211"/>
                  </a:cubicBezTo>
                  <a:cubicBezTo>
                    <a:pt x="3262" y="390"/>
                    <a:pt x="3262" y="390"/>
                    <a:pt x="3262" y="390"/>
                  </a:cubicBezTo>
                  <a:cubicBezTo>
                    <a:pt x="3217" y="390"/>
                    <a:pt x="3217" y="390"/>
                    <a:pt x="3217" y="390"/>
                  </a:cubicBezTo>
                  <a:cubicBezTo>
                    <a:pt x="3217" y="123"/>
                    <a:pt x="3217" y="123"/>
                    <a:pt x="3217" y="123"/>
                  </a:cubicBezTo>
                  <a:cubicBezTo>
                    <a:pt x="3262" y="123"/>
                    <a:pt x="3262" y="123"/>
                    <a:pt x="3262" y="123"/>
                  </a:cubicBezTo>
                  <a:cubicBezTo>
                    <a:pt x="3262" y="158"/>
                    <a:pt x="3262" y="158"/>
                    <a:pt x="3262" y="158"/>
                  </a:cubicBezTo>
                  <a:cubicBezTo>
                    <a:pt x="3274" y="135"/>
                    <a:pt x="3299" y="118"/>
                    <a:pt x="3328" y="118"/>
                  </a:cubicBezTo>
                  <a:cubicBezTo>
                    <a:pt x="3340" y="118"/>
                    <a:pt x="3349" y="120"/>
                    <a:pt x="3354" y="122"/>
                  </a:cubicBezTo>
                  <a:lnTo>
                    <a:pt x="3354" y="168"/>
                  </a:lnTo>
                  <a:close/>
                  <a:moveTo>
                    <a:pt x="3576" y="358"/>
                  </a:moveTo>
                  <a:cubicBezTo>
                    <a:pt x="3563" y="378"/>
                    <a:pt x="3534" y="395"/>
                    <a:pt x="3501" y="395"/>
                  </a:cubicBezTo>
                  <a:cubicBezTo>
                    <a:pt x="3423" y="395"/>
                    <a:pt x="3381" y="332"/>
                    <a:pt x="3381" y="257"/>
                  </a:cubicBezTo>
                  <a:cubicBezTo>
                    <a:pt x="3381" y="182"/>
                    <a:pt x="3423" y="118"/>
                    <a:pt x="3501" y="118"/>
                  </a:cubicBezTo>
                  <a:cubicBezTo>
                    <a:pt x="3534" y="118"/>
                    <a:pt x="3563" y="135"/>
                    <a:pt x="3576" y="155"/>
                  </a:cubicBezTo>
                  <a:cubicBezTo>
                    <a:pt x="3576" y="0"/>
                    <a:pt x="3576" y="0"/>
                    <a:pt x="3576" y="0"/>
                  </a:cubicBezTo>
                  <a:cubicBezTo>
                    <a:pt x="3621" y="0"/>
                    <a:pt x="3621" y="0"/>
                    <a:pt x="3621" y="0"/>
                  </a:cubicBezTo>
                  <a:cubicBezTo>
                    <a:pt x="3621" y="390"/>
                    <a:pt x="3621" y="390"/>
                    <a:pt x="3621" y="390"/>
                  </a:cubicBezTo>
                  <a:cubicBezTo>
                    <a:pt x="3576" y="390"/>
                    <a:pt x="3576" y="390"/>
                    <a:pt x="3576" y="390"/>
                  </a:cubicBezTo>
                  <a:lnTo>
                    <a:pt x="3576" y="358"/>
                  </a:lnTo>
                  <a:close/>
                  <a:moveTo>
                    <a:pt x="3576" y="203"/>
                  </a:moveTo>
                  <a:cubicBezTo>
                    <a:pt x="3562" y="175"/>
                    <a:pt x="3536" y="159"/>
                    <a:pt x="3507" y="159"/>
                  </a:cubicBezTo>
                  <a:cubicBezTo>
                    <a:pt x="3456" y="159"/>
                    <a:pt x="3426" y="200"/>
                    <a:pt x="3426" y="257"/>
                  </a:cubicBezTo>
                  <a:cubicBezTo>
                    <a:pt x="3426" y="313"/>
                    <a:pt x="3456" y="354"/>
                    <a:pt x="3507" y="354"/>
                  </a:cubicBezTo>
                  <a:cubicBezTo>
                    <a:pt x="3536" y="354"/>
                    <a:pt x="3562" y="338"/>
                    <a:pt x="3576" y="311"/>
                  </a:cubicBezTo>
                  <a:lnTo>
                    <a:pt x="3576" y="20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 dirty="0">
                <a:solidFill>
                  <a:prstClr val="black"/>
                </a:solidFill>
                <a:ea typeface="Arial"/>
                <a:cs typeface="Arial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-1752600" y="385577"/>
              <a:ext cx="4140203" cy="5981709"/>
            </a:xfrm>
            <a:custGeom>
              <a:avLst/>
              <a:gdLst>
                <a:gd name="T0" fmla="*/ 1448 w 2608"/>
                <a:gd name="T1" fmla="*/ 3768 h 3768"/>
                <a:gd name="T2" fmla="*/ 0 w 2608"/>
                <a:gd name="T3" fmla="*/ 3768 h 3768"/>
                <a:gd name="T4" fmla="*/ 0 w 2608"/>
                <a:gd name="T5" fmla="*/ 0 h 3768"/>
                <a:gd name="T6" fmla="*/ 2029 w 2608"/>
                <a:gd name="T7" fmla="*/ 0 h 3768"/>
                <a:gd name="T8" fmla="*/ 2029 w 2608"/>
                <a:gd name="T9" fmla="*/ 2608 h 3768"/>
                <a:gd name="T10" fmla="*/ 1160 w 2608"/>
                <a:gd name="T11" fmla="*/ 2608 h 3768"/>
                <a:gd name="T12" fmla="*/ 1160 w 2608"/>
                <a:gd name="T13" fmla="*/ 869 h 3768"/>
                <a:gd name="T14" fmla="*/ 869 w 2608"/>
                <a:gd name="T15" fmla="*/ 869 h 3768"/>
                <a:gd name="T16" fmla="*/ 869 w 2608"/>
                <a:gd name="T17" fmla="*/ 2898 h 3768"/>
                <a:gd name="T18" fmla="*/ 2608 w 2608"/>
                <a:gd name="T19" fmla="*/ 2898 h 3768"/>
                <a:gd name="T20" fmla="*/ 2608 w 2608"/>
                <a:gd name="T21" fmla="*/ 3187 h 3768"/>
                <a:gd name="T22" fmla="*/ 581 w 2608"/>
                <a:gd name="T23" fmla="*/ 3187 h 3768"/>
                <a:gd name="T24" fmla="*/ 581 w 2608"/>
                <a:gd name="T25" fmla="*/ 579 h 3768"/>
                <a:gd name="T26" fmla="*/ 1448 w 2608"/>
                <a:gd name="T27" fmla="*/ 579 h 3768"/>
                <a:gd name="T28" fmla="*/ 1448 w 2608"/>
                <a:gd name="T29" fmla="*/ 2317 h 3768"/>
                <a:gd name="T30" fmla="*/ 1738 w 2608"/>
                <a:gd name="T31" fmla="*/ 2317 h 3768"/>
                <a:gd name="T32" fmla="*/ 1738 w 2608"/>
                <a:gd name="T33" fmla="*/ 288 h 3768"/>
                <a:gd name="T34" fmla="*/ 288 w 2608"/>
                <a:gd name="T35" fmla="*/ 288 h 3768"/>
                <a:gd name="T36" fmla="*/ 288 w 2608"/>
                <a:gd name="T37" fmla="*/ 3477 h 3768"/>
                <a:gd name="T38" fmla="*/ 1448 w 2608"/>
                <a:gd name="T39" fmla="*/ 3477 h 3768"/>
                <a:gd name="T40" fmla="*/ 1448 w 2608"/>
                <a:gd name="T41" fmla="*/ 3768 h 3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08" h="3768">
                  <a:moveTo>
                    <a:pt x="1448" y="3768"/>
                  </a:moveTo>
                  <a:lnTo>
                    <a:pt x="0" y="3768"/>
                  </a:lnTo>
                  <a:lnTo>
                    <a:pt x="0" y="0"/>
                  </a:lnTo>
                  <a:lnTo>
                    <a:pt x="2029" y="0"/>
                  </a:lnTo>
                  <a:lnTo>
                    <a:pt x="2029" y="2608"/>
                  </a:lnTo>
                  <a:lnTo>
                    <a:pt x="1160" y="2608"/>
                  </a:lnTo>
                  <a:lnTo>
                    <a:pt x="1160" y="869"/>
                  </a:lnTo>
                  <a:lnTo>
                    <a:pt x="869" y="869"/>
                  </a:lnTo>
                  <a:lnTo>
                    <a:pt x="869" y="2898"/>
                  </a:lnTo>
                  <a:lnTo>
                    <a:pt x="2608" y="2898"/>
                  </a:lnTo>
                  <a:lnTo>
                    <a:pt x="2608" y="3187"/>
                  </a:lnTo>
                  <a:lnTo>
                    <a:pt x="581" y="3187"/>
                  </a:lnTo>
                  <a:lnTo>
                    <a:pt x="581" y="579"/>
                  </a:lnTo>
                  <a:lnTo>
                    <a:pt x="1448" y="579"/>
                  </a:lnTo>
                  <a:lnTo>
                    <a:pt x="1448" y="2317"/>
                  </a:lnTo>
                  <a:lnTo>
                    <a:pt x="1738" y="2317"/>
                  </a:lnTo>
                  <a:lnTo>
                    <a:pt x="1738" y="288"/>
                  </a:lnTo>
                  <a:lnTo>
                    <a:pt x="288" y="288"/>
                  </a:lnTo>
                  <a:lnTo>
                    <a:pt x="288" y="3477"/>
                  </a:lnTo>
                  <a:lnTo>
                    <a:pt x="1448" y="3477"/>
                  </a:lnTo>
                  <a:lnTo>
                    <a:pt x="1448" y="3768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 dirty="0">
                <a:solidFill>
                  <a:prstClr val="black"/>
                </a:solidFill>
                <a:ea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2687179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ED07B52A-77BB-406D-92F5-74F9595DF6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"/>
            <a:ext cx="9144000" cy="683817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ltGray">
          <a:xfrm>
            <a:off x="0" y="0"/>
            <a:ext cx="7650342" cy="685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>
                  <a:alpha val="59000"/>
                </a:schemeClr>
              </a:gs>
            </a:gsLst>
            <a:lin ang="10800000" scaled="1"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 err="1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9" y="457000"/>
            <a:ext cx="2270363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4783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12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6960E39D-BD2D-406F-BC1F-7C3F0DD1D2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ltGray">
          <a:xfrm>
            <a:off x="0" y="-13100"/>
            <a:ext cx="8946486" cy="6871099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90000">
                <a:schemeClr val="accent6">
                  <a:lumMod val="25000"/>
                  <a:alpha val="75000"/>
                </a:schemeClr>
              </a:gs>
            </a:gsLst>
            <a:lin ang="10200000" scaled="0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>
              <a:lnSpc>
                <a:spcPct val="90000"/>
              </a:lnSpc>
            </a:pPr>
            <a:endParaRPr lang="en-US" sz="1350" err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866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059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88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9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46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4050"/>
            </a:lvl1pPr>
          </a:lstStyle>
          <a:p>
            <a:r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5334000"/>
            <a:ext cx="6856214" cy="4572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951643" y="457203"/>
            <a:ext cx="2735158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Group 8" title="Hewlett Packard Labs"/>
          <p:cNvGrpSpPr>
            <a:grpSpLocks noChangeAspect="1"/>
          </p:cNvGrpSpPr>
          <p:nvPr userDrawn="1"/>
        </p:nvGrpSpPr>
        <p:grpSpPr bwMode="gray">
          <a:xfrm>
            <a:off x="454820" y="457200"/>
            <a:ext cx="2720447" cy="1206500"/>
            <a:chOff x="-1752600" y="385577"/>
            <a:chExt cx="19053176" cy="6337486"/>
          </a:xfrm>
        </p:grpSpPr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3722689" y="3397252"/>
              <a:ext cx="13577887" cy="3325811"/>
            </a:xfrm>
            <a:custGeom>
              <a:avLst/>
              <a:gdLst>
                <a:gd name="T0" fmla="*/ 261 w 3621"/>
                <a:gd name="T1" fmla="*/ 798 h 887"/>
                <a:gd name="T2" fmla="*/ 453 w 3621"/>
                <a:gd name="T3" fmla="*/ 718 h 887"/>
                <a:gd name="T4" fmla="*/ 418 w 3621"/>
                <a:gd name="T5" fmla="*/ 605 h 887"/>
                <a:gd name="T6" fmla="*/ 453 w 3621"/>
                <a:gd name="T7" fmla="*/ 867 h 887"/>
                <a:gd name="T8" fmla="*/ 453 w 3621"/>
                <a:gd name="T9" fmla="*/ 728 h 887"/>
                <a:gd name="T10" fmla="*/ 378 w 3621"/>
                <a:gd name="T11" fmla="*/ 797 h 887"/>
                <a:gd name="T12" fmla="*/ 680 w 3621"/>
                <a:gd name="T13" fmla="*/ 881 h 887"/>
                <a:gd name="T14" fmla="*/ 680 w 3621"/>
                <a:gd name="T15" fmla="*/ 633 h 887"/>
                <a:gd name="T16" fmla="*/ 680 w 3621"/>
                <a:gd name="T17" fmla="*/ 859 h 887"/>
                <a:gd name="T18" fmla="*/ 773 w 3621"/>
                <a:gd name="T19" fmla="*/ 746 h 887"/>
                <a:gd name="T20" fmla="*/ 894 w 3621"/>
                <a:gd name="T21" fmla="*/ 782 h 887"/>
                <a:gd name="T22" fmla="*/ 975 w 3621"/>
                <a:gd name="T23" fmla="*/ 776 h 887"/>
                <a:gd name="T24" fmla="*/ 1097 w 3621"/>
                <a:gd name="T25" fmla="*/ 706 h 887"/>
                <a:gd name="T26" fmla="*/ 1031 w 3621"/>
                <a:gd name="T27" fmla="*/ 716 h 887"/>
                <a:gd name="T28" fmla="*/ 894 w 3621"/>
                <a:gd name="T29" fmla="*/ 782 h 887"/>
                <a:gd name="T30" fmla="*/ 255 w 3621"/>
                <a:gd name="T31" fmla="*/ 222 h 887"/>
                <a:gd name="T32" fmla="*/ 0 w 3621"/>
                <a:gd name="T33" fmla="*/ 21 h 887"/>
                <a:gd name="T34" fmla="*/ 255 w 3621"/>
                <a:gd name="T35" fmla="*/ 21 h 887"/>
                <a:gd name="T36" fmla="*/ 569 w 3621"/>
                <a:gd name="T37" fmla="*/ 330 h 887"/>
                <a:gd name="T38" fmla="*/ 478 w 3621"/>
                <a:gd name="T39" fmla="*/ 118 h 887"/>
                <a:gd name="T40" fmla="*/ 406 w 3621"/>
                <a:gd name="T41" fmla="*/ 229 h 887"/>
                <a:gd name="T42" fmla="*/ 863 w 3621"/>
                <a:gd name="T43" fmla="*/ 327 h 887"/>
                <a:gd name="T44" fmla="*/ 843 w 3621"/>
                <a:gd name="T45" fmla="*/ 390 h 887"/>
                <a:gd name="T46" fmla="*/ 610 w 3621"/>
                <a:gd name="T47" fmla="*/ 123 h 887"/>
                <a:gd name="T48" fmla="*/ 808 w 3621"/>
                <a:gd name="T49" fmla="*/ 123 h 887"/>
                <a:gd name="T50" fmla="*/ 1015 w 3621"/>
                <a:gd name="T51" fmla="*/ 0 h 887"/>
                <a:gd name="T52" fmla="*/ 1250 w 3621"/>
                <a:gd name="T53" fmla="*/ 356 h 887"/>
                <a:gd name="T54" fmla="*/ 1116 w 3621"/>
                <a:gd name="T55" fmla="*/ 259 h 887"/>
                <a:gd name="T56" fmla="*/ 1160 w 3621"/>
                <a:gd name="T57" fmla="*/ 264 h 887"/>
                <a:gd name="T58" fmla="*/ 1163 w 3621"/>
                <a:gd name="T59" fmla="*/ 229 h 887"/>
                <a:gd name="T60" fmla="*/ 1636 w 3621"/>
                <a:gd name="T61" fmla="*/ 162 h 887"/>
                <a:gd name="T62" fmla="*/ 1636 w 3621"/>
                <a:gd name="T63" fmla="*/ 53 h 887"/>
                <a:gd name="T64" fmla="*/ 1472 w 3621"/>
                <a:gd name="T65" fmla="*/ 53 h 887"/>
                <a:gd name="T66" fmla="*/ 1371 w 3621"/>
                <a:gd name="T67" fmla="*/ 162 h 887"/>
                <a:gd name="T68" fmla="*/ 1472 w 3621"/>
                <a:gd name="T69" fmla="*/ 162 h 887"/>
                <a:gd name="T70" fmla="*/ 1888 w 3621"/>
                <a:gd name="T71" fmla="*/ 390 h 887"/>
                <a:gd name="T72" fmla="*/ 2024 w 3621"/>
                <a:gd name="T73" fmla="*/ 242 h 887"/>
                <a:gd name="T74" fmla="*/ 1935 w 3621"/>
                <a:gd name="T75" fmla="*/ 200 h 887"/>
                <a:gd name="T76" fmla="*/ 2334 w 3621"/>
                <a:gd name="T77" fmla="*/ 213 h 887"/>
                <a:gd name="T78" fmla="*/ 2278 w 3621"/>
                <a:gd name="T79" fmla="*/ 118 h 887"/>
                <a:gd name="T80" fmla="*/ 2334 w 3621"/>
                <a:gd name="T81" fmla="*/ 370 h 887"/>
                <a:gd name="T82" fmla="*/ 2334 w 3621"/>
                <a:gd name="T83" fmla="*/ 248 h 887"/>
                <a:gd name="T84" fmla="*/ 2209 w 3621"/>
                <a:gd name="T85" fmla="*/ 309 h 887"/>
                <a:gd name="T86" fmla="*/ 2559 w 3621"/>
                <a:gd name="T87" fmla="*/ 118 h 887"/>
                <a:gd name="T88" fmla="*/ 2476 w 3621"/>
                <a:gd name="T89" fmla="*/ 257 h 887"/>
                <a:gd name="T90" fmla="*/ 2559 w 3621"/>
                <a:gd name="T91" fmla="*/ 395 h 887"/>
                <a:gd name="T92" fmla="*/ 2861 w 3621"/>
                <a:gd name="T93" fmla="*/ 390 h 887"/>
                <a:gd name="T94" fmla="*/ 2693 w 3621"/>
                <a:gd name="T95" fmla="*/ 0 h 887"/>
                <a:gd name="T96" fmla="*/ 2914 w 3621"/>
                <a:gd name="T97" fmla="*/ 123 h 887"/>
                <a:gd name="T98" fmla="*/ 3040 w 3621"/>
                <a:gd name="T99" fmla="*/ 159 h 887"/>
                <a:gd name="T100" fmla="*/ 3147 w 3621"/>
                <a:gd name="T101" fmla="*/ 209 h 887"/>
                <a:gd name="T102" fmla="*/ 3035 w 3621"/>
                <a:gd name="T103" fmla="*/ 394 h 887"/>
                <a:gd name="T104" fmla="*/ 3104 w 3621"/>
                <a:gd name="T105" fmla="*/ 213 h 887"/>
                <a:gd name="T106" fmla="*/ 3042 w 3621"/>
                <a:gd name="T107" fmla="*/ 357 h 887"/>
                <a:gd name="T108" fmla="*/ 3324 w 3621"/>
                <a:gd name="T109" fmla="*/ 161 h 887"/>
                <a:gd name="T110" fmla="*/ 3217 w 3621"/>
                <a:gd name="T111" fmla="*/ 123 h 887"/>
                <a:gd name="T112" fmla="*/ 3354 w 3621"/>
                <a:gd name="T113" fmla="*/ 122 h 887"/>
                <a:gd name="T114" fmla="*/ 3381 w 3621"/>
                <a:gd name="T115" fmla="*/ 257 h 887"/>
                <a:gd name="T116" fmla="*/ 3621 w 3621"/>
                <a:gd name="T117" fmla="*/ 0 h 887"/>
                <a:gd name="T118" fmla="*/ 3576 w 3621"/>
                <a:gd name="T119" fmla="*/ 203 h 887"/>
                <a:gd name="T120" fmla="*/ 3576 w 3621"/>
                <a:gd name="T121" fmla="*/ 311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21" h="887">
                  <a:moveTo>
                    <a:pt x="0" y="513"/>
                  </a:moveTo>
                  <a:cubicBezTo>
                    <a:pt x="96" y="513"/>
                    <a:pt x="96" y="513"/>
                    <a:pt x="96" y="513"/>
                  </a:cubicBezTo>
                  <a:cubicBezTo>
                    <a:pt x="96" y="798"/>
                    <a:pt x="96" y="798"/>
                    <a:pt x="96" y="798"/>
                  </a:cubicBezTo>
                  <a:cubicBezTo>
                    <a:pt x="261" y="798"/>
                    <a:pt x="261" y="798"/>
                    <a:pt x="261" y="798"/>
                  </a:cubicBezTo>
                  <a:cubicBezTo>
                    <a:pt x="261" y="881"/>
                    <a:pt x="261" y="881"/>
                    <a:pt x="261" y="881"/>
                  </a:cubicBezTo>
                  <a:cubicBezTo>
                    <a:pt x="0" y="881"/>
                    <a:pt x="0" y="881"/>
                    <a:pt x="0" y="881"/>
                  </a:cubicBezTo>
                  <a:lnTo>
                    <a:pt x="0" y="513"/>
                  </a:lnTo>
                  <a:close/>
                  <a:moveTo>
                    <a:pt x="453" y="718"/>
                  </a:moveTo>
                  <a:cubicBezTo>
                    <a:pt x="453" y="697"/>
                    <a:pt x="434" y="682"/>
                    <a:pt x="396" y="682"/>
                  </a:cubicBezTo>
                  <a:cubicBezTo>
                    <a:pt x="370" y="682"/>
                    <a:pt x="343" y="689"/>
                    <a:pt x="322" y="702"/>
                  </a:cubicBezTo>
                  <a:cubicBezTo>
                    <a:pt x="322" y="626"/>
                    <a:pt x="322" y="626"/>
                    <a:pt x="322" y="626"/>
                  </a:cubicBezTo>
                  <a:cubicBezTo>
                    <a:pt x="344" y="614"/>
                    <a:pt x="380" y="605"/>
                    <a:pt x="418" y="605"/>
                  </a:cubicBezTo>
                  <a:cubicBezTo>
                    <a:pt x="498" y="605"/>
                    <a:pt x="544" y="643"/>
                    <a:pt x="544" y="714"/>
                  </a:cubicBezTo>
                  <a:cubicBezTo>
                    <a:pt x="544" y="881"/>
                    <a:pt x="544" y="881"/>
                    <a:pt x="544" y="881"/>
                  </a:cubicBezTo>
                  <a:cubicBezTo>
                    <a:pt x="453" y="881"/>
                    <a:pt x="453" y="881"/>
                    <a:pt x="453" y="881"/>
                  </a:cubicBezTo>
                  <a:cubicBezTo>
                    <a:pt x="453" y="867"/>
                    <a:pt x="453" y="867"/>
                    <a:pt x="453" y="867"/>
                  </a:cubicBezTo>
                  <a:cubicBezTo>
                    <a:pt x="444" y="876"/>
                    <a:pt x="418" y="886"/>
                    <a:pt x="390" y="886"/>
                  </a:cubicBezTo>
                  <a:cubicBezTo>
                    <a:pt x="336" y="886"/>
                    <a:pt x="291" y="856"/>
                    <a:pt x="291" y="799"/>
                  </a:cubicBezTo>
                  <a:cubicBezTo>
                    <a:pt x="291" y="747"/>
                    <a:pt x="336" y="713"/>
                    <a:pt x="394" y="713"/>
                  </a:cubicBezTo>
                  <a:cubicBezTo>
                    <a:pt x="417" y="713"/>
                    <a:pt x="442" y="720"/>
                    <a:pt x="453" y="728"/>
                  </a:cubicBezTo>
                  <a:lnTo>
                    <a:pt x="453" y="718"/>
                  </a:lnTo>
                  <a:close/>
                  <a:moveTo>
                    <a:pt x="453" y="790"/>
                  </a:moveTo>
                  <a:cubicBezTo>
                    <a:pt x="447" y="778"/>
                    <a:pt x="432" y="771"/>
                    <a:pt x="415" y="771"/>
                  </a:cubicBezTo>
                  <a:cubicBezTo>
                    <a:pt x="397" y="771"/>
                    <a:pt x="378" y="779"/>
                    <a:pt x="378" y="797"/>
                  </a:cubicBezTo>
                  <a:cubicBezTo>
                    <a:pt x="378" y="816"/>
                    <a:pt x="397" y="823"/>
                    <a:pt x="415" y="823"/>
                  </a:cubicBezTo>
                  <a:cubicBezTo>
                    <a:pt x="432" y="823"/>
                    <a:pt x="447" y="816"/>
                    <a:pt x="453" y="805"/>
                  </a:cubicBezTo>
                  <a:lnTo>
                    <a:pt x="453" y="790"/>
                  </a:lnTo>
                  <a:close/>
                  <a:moveTo>
                    <a:pt x="680" y="881"/>
                  </a:moveTo>
                  <a:cubicBezTo>
                    <a:pt x="586" y="881"/>
                    <a:pt x="586" y="881"/>
                    <a:pt x="586" y="881"/>
                  </a:cubicBezTo>
                  <a:cubicBezTo>
                    <a:pt x="586" y="491"/>
                    <a:pt x="586" y="491"/>
                    <a:pt x="586" y="491"/>
                  </a:cubicBezTo>
                  <a:cubicBezTo>
                    <a:pt x="680" y="491"/>
                    <a:pt x="680" y="491"/>
                    <a:pt x="680" y="491"/>
                  </a:cubicBezTo>
                  <a:cubicBezTo>
                    <a:pt x="680" y="633"/>
                    <a:pt x="680" y="633"/>
                    <a:pt x="680" y="633"/>
                  </a:cubicBezTo>
                  <a:cubicBezTo>
                    <a:pt x="693" y="618"/>
                    <a:pt x="719" y="605"/>
                    <a:pt x="747" y="605"/>
                  </a:cubicBezTo>
                  <a:cubicBezTo>
                    <a:pt x="825" y="605"/>
                    <a:pt x="867" y="668"/>
                    <a:pt x="867" y="746"/>
                  </a:cubicBezTo>
                  <a:cubicBezTo>
                    <a:pt x="867" y="824"/>
                    <a:pt x="825" y="887"/>
                    <a:pt x="747" y="887"/>
                  </a:cubicBezTo>
                  <a:cubicBezTo>
                    <a:pt x="719" y="887"/>
                    <a:pt x="693" y="874"/>
                    <a:pt x="680" y="859"/>
                  </a:cubicBezTo>
                  <a:lnTo>
                    <a:pt x="680" y="881"/>
                  </a:lnTo>
                  <a:close/>
                  <a:moveTo>
                    <a:pt x="680" y="781"/>
                  </a:moveTo>
                  <a:cubicBezTo>
                    <a:pt x="687" y="796"/>
                    <a:pt x="703" y="807"/>
                    <a:pt x="721" y="807"/>
                  </a:cubicBezTo>
                  <a:cubicBezTo>
                    <a:pt x="754" y="807"/>
                    <a:pt x="773" y="781"/>
                    <a:pt x="773" y="746"/>
                  </a:cubicBezTo>
                  <a:cubicBezTo>
                    <a:pt x="773" y="711"/>
                    <a:pt x="754" y="685"/>
                    <a:pt x="721" y="685"/>
                  </a:cubicBezTo>
                  <a:cubicBezTo>
                    <a:pt x="703" y="685"/>
                    <a:pt x="687" y="696"/>
                    <a:pt x="680" y="710"/>
                  </a:cubicBezTo>
                  <a:lnTo>
                    <a:pt x="680" y="781"/>
                  </a:lnTo>
                  <a:close/>
                  <a:moveTo>
                    <a:pt x="894" y="782"/>
                  </a:moveTo>
                  <a:cubicBezTo>
                    <a:pt x="920" y="803"/>
                    <a:pt x="962" y="816"/>
                    <a:pt x="990" y="816"/>
                  </a:cubicBezTo>
                  <a:cubicBezTo>
                    <a:pt x="1008" y="816"/>
                    <a:pt x="1020" y="812"/>
                    <a:pt x="1020" y="800"/>
                  </a:cubicBezTo>
                  <a:cubicBezTo>
                    <a:pt x="1020" y="789"/>
                    <a:pt x="1012" y="785"/>
                    <a:pt x="996" y="781"/>
                  </a:cubicBezTo>
                  <a:cubicBezTo>
                    <a:pt x="975" y="776"/>
                    <a:pt x="975" y="776"/>
                    <a:pt x="975" y="776"/>
                  </a:cubicBezTo>
                  <a:cubicBezTo>
                    <a:pt x="925" y="765"/>
                    <a:pt x="893" y="742"/>
                    <a:pt x="893" y="693"/>
                  </a:cubicBezTo>
                  <a:cubicBezTo>
                    <a:pt x="893" y="637"/>
                    <a:pt x="940" y="605"/>
                    <a:pt x="1003" y="605"/>
                  </a:cubicBezTo>
                  <a:cubicBezTo>
                    <a:pt x="1042" y="605"/>
                    <a:pt x="1071" y="613"/>
                    <a:pt x="1097" y="629"/>
                  </a:cubicBezTo>
                  <a:cubicBezTo>
                    <a:pt x="1097" y="706"/>
                    <a:pt x="1097" y="706"/>
                    <a:pt x="1097" y="706"/>
                  </a:cubicBezTo>
                  <a:cubicBezTo>
                    <a:pt x="1072" y="688"/>
                    <a:pt x="1043" y="675"/>
                    <a:pt x="1012" y="675"/>
                  </a:cubicBezTo>
                  <a:cubicBezTo>
                    <a:pt x="996" y="675"/>
                    <a:pt x="985" y="681"/>
                    <a:pt x="985" y="691"/>
                  </a:cubicBezTo>
                  <a:cubicBezTo>
                    <a:pt x="985" y="702"/>
                    <a:pt x="993" y="705"/>
                    <a:pt x="1006" y="709"/>
                  </a:cubicBezTo>
                  <a:cubicBezTo>
                    <a:pt x="1031" y="716"/>
                    <a:pt x="1031" y="716"/>
                    <a:pt x="1031" y="716"/>
                  </a:cubicBezTo>
                  <a:cubicBezTo>
                    <a:pt x="1090" y="732"/>
                    <a:pt x="1113" y="756"/>
                    <a:pt x="1113" y="801"/>
                  </a:cubicBezTo>
                  <a:cubicBezTo>
                    <a:pt x="1113" y="859"/>
                    <a:pt x="1063" y="887"/>
                    <a:pt x="997" y="887"/>
                  </a:cubicBezTo>
                  <a:cubicBezTo>
                    <a:pt x="959" y="887"/>
                    <a:pt x="919" y="878"/>
                    <a:pt x="894" y="861"/>
                  </a:cubicBezTo>
                  <a:lnTo>
                    <a:pt x="894" y="782"/>
                  </a:lnTo>
                  <a:close/>
                  <a:moveTo>
                    <a:pt x="303" y="21"/>
                  </a:moveTo>
                  <a:cubicBezTo>
                    <a:pt x="303" y="390"/>
                    <a:pt x="303" y="390"/>
                    <a:pt x="303" y="390"/>
                  </a:cubicBezTo>
                  <a:cubicBezTo>
                    <a:pt x="255" y="390"/>
                    <a:pt x="255" y="390"/>
                    <a:pt x="255" y="390"/>
                  </a:cubicBezTo>
                  <a:cubicBezTo>
                    <a:pt x="255" y="222"/>
                    <a:pt x="255" y="222"/>
                    <a:pt x="255" y="222"/>
                  </a:cubicBezTo>
                  <a:cubicBezTo>
                    <a:pt x="47" y="222"/>
                    <a:pt x="47" y="222"/>
                    <a:pt x="47" y="222"/>
                  </a:cubicBezTo>
                  <a:cubicBezTo>
                    <a:pt x="47" y="390"/>
                    <a:pt x="47" y="390"/>
                    <a:pt x="47" y="390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255" y="179"/>
                    <a:pt x="255" y="179"/>
                    <a:pt x="255" y="179"/>
                  </a:cubicBezTo>
                  <a:cubicBezTo>
                    <a:pt x="255" y="21"/>
                    <a:pt x="255" y="21"/>
                    <a:pt x="255" y="21"/>
                  </a:cubicBezTo>
                  <a:lnTo>
                    <a:pt x="303" y="21"/>
                  </a:lnTo>
                  <a:close/>
                  <a:moveTo>
                    <a:pt x="404" y="264"/>
                  </a:moveTo>
                  <a:cubicBezTo>
                    <a:pt x="406" y="326"/>
                    <a:pt x="445" y="356"/>
                    <a:pt x="493" y="356"/>
                  </a:cubicBezTo>
                  <a:cubicBezTo>
                    <a:pt x="523" y="356"/>
                    <a:pt x="545" y="348"/>
                    <a:pt x="569" y="330"/>
                  </a:cubicBezTo>
                  <a:cubicBezTo>
                    <a:pt x="569" y="372"/>
                    <a:pt x="569" y="372"/>
                    <a:pt x="569" y="372"/>
                  </a:cubicBezTo>
                  <a:cubicBezTo>
                    <a:pt x="547" y="389"/>
                    <a:pt x="520" y="395"/>
                    <a:pt x="488" y="395"/>
                  </a:cubicBezTo>
                  <a:cubicBezTo>
                    <a:pt x="411" y="395"/>
                    <a:pt x="359" y="343"/>
                    <a:pt x="359" y="259"/>
                  </a:cubicBezTo>
                  <a:cubicBezTo>
                    <a:pt x="359" y="176"/>
                    <a:pt x="407" y="118"/>
                    <a:pt x="478" y="118"/>
                  </a:cubicBezTo>
                  <a:cubicBezTo>
                    <a:pt x="550" y="118"/>
                    <a:pt x="587" y="170"/>
                    <a:pt x="587" y="248"/>
                  </a:cubicBezTo>
                  <a:cubicBezTo>
                    <a:pt x="587" y="264"/>
                    <a:pt x="587" y="264"/>
                    <a:pt x="587" y="264"/>
                  </a:cubicBezTo>
                  <a:lnTo>
                    <a:pt x="404" y="264"/>
                  </a:lnTo>
                  <a:close/>
                  <a:moveTo>
                    <a:pt x="406" y="229"/>
                  </a:moveTo>
                  <a:cubicBezTo>
                    <a:pt x="544" y="229"/>
                    <a:pt x="544" y="229"/>
                    <a:pt x="544" y="229"/>
                  </a:cubicBezTo>
                  <a:cubicBezTo>
                    <a:pt x="542" y="190"/>
                    <a:pt x="522" y="156"/>
                    <a:pt x="479" y="156"/>
                  </a:cubicBezTo>
                  <a:cubicBezTo>
                    <a:pt x="443" y="156"/>
                    <a:pt x="415" y="180"/>
                    <a:pt x="406" y="229"/>
                  </a:cubicBezTo>
                  <a:close/>
                  <a:moveTo>
                    <a:pt x="863" y="327"/>
                  </a:moveTo>
                  <a:cubicBezTo>
                    <a:pt x="921" y="123"/>
                    <a:pt x="921" y="123"/>
                    <a:pt x="921" y="123"/>
                  </a:cubicBezTo>
                  <a:cubicBezTo>
                    <a:pt x="965" y="123"/>
                    <a:pt x="965" y="123"/>
                    <a:pt x="965" y="123"/>
                  </a:cubicBezTo>
                  <a:cubicBezTo>
                    <a:pt x="887" y="390"/>
                    <a:pt x="887" y="390"/>
                    <a:pt x="887" y="390"/>
                  </a:cubicBezTo>
                  <a:cubicBezTo>
                    <a:pt x="843" y="390"/>
                    <a:pt x="843" y="390"/>
                    <a:pt x="843" y="390"/>
                  </a:cubicBezTo>
                  <a:cubicBezTo>
                    <a:pt x="788" y="188"/>
                    <a:pt x="788" y="188"/>
                    <a:pt x="788" y="188"/>
                  </a:cubicBezTo>
                  <a:cubicBezTo>
                    <a:pt x="732" y="390"/>
                    <a:pt x="732" y="390"/>
                    <a:pt x="732" y="390"/>
                  </a:cubicBezTo>
                  <a:cubicBezTo>
                    <a:pt x="688" y="390"/>
                    <a:pt x="688" y="390"/>
                    <a:pt x="688" y="390"/>
                  </a:cubicBezTo>
                  <a:cubicBezTo>
                    <a:pt x="610" y="123"/>
                    <a:pt x="610" y="123"/>
                    <a:pt x="610" y="123"/>
                  </a:cubicBezTo>
                  <a:cubicBezTo>
                    <a:pt x="655" y="123"/>
                    <a:pt x="655" y="123"/>
                    <a:pt x="655" y="123"/>
                  </a:cubicBezTo>
                  <a:cubicBezTo>
                    <a:pt x="713" y="327"/>
                    <a:pt x="713" y="327"/>
                    <a:pt x="713" y="327"/>
                  </a:cubicBezTo>
                  <a:cubicBezTo>
                    <a:pt x="768" y="123"/>
                    <a:pt x="768" y="123"/>
                    <a:pt x="768" y="123"/>
                  </a:cubicBezTo>
                  <a:cubicBezTo>
                    <a:pt x="808" y="123"/>
                    <a:pt x="808" y="123"/>
                    <a:pt x="808" y="123"/>
                  </a:cubicBezTo>
                  <a:lnTo>
                    <a:pt x="863" y="327"/>
                  </a:lnTo>
                  <a:close/>
                  <a:moveTo>
                    <a:pt x="1060" y="390"/>
                  </a:moveTo>
                  <a:cubicBezTo>
                    <a:pt x="1015" y="390"/>
                    <a:pt x="1015" y="390"/>
                    <a:pt x="1015" y="390"/>
                  </a:cubicBezTo>
                  <a:cubicBezTo>
                    <a:pt x="1015" y="0"/>
                    <a:pt x="1015" y="0"/>
                    <a:pt x="1015" y="0"/>
                  </a:cubicBezTo>
                  <a:cubicBezTo>
                    <a:pt x="1060" y="0"/>
                    <a:pt x="1060" y="0"/>
                    <a:pt x="1060" y="0"/>
                  </a:cubicBezTo>
                  <a:lnTo>
                    <a:pt x="1060" y="390"/>
                  </a:lnTo>
                  <a:close/>
                  <a:moveTo>
                    <a:pt x="1160" y="264"/>
                  </a:moveTo>
                  <a:cubicBezTo>
                    <a:pt x="1162" y="326"/>
                    <a:pt x="1201" y="356"/>
                    <a:pt x="1250" y="356"/>
                  </a:cubicBezTo>
                  <a:cubicBezTo>
                    <a:pt x="1280" y="356"/>
                    <a:pt x="1301" y="348"/>
                    <a:pt x="1325" y="330"/>
                  </a:cubicBezTo>
                  <a:cubicBezTo>
                    <a:pt x="1325" y="372"/>
                    <a:pt x="1325" y="372"/>
                    <a:pt x="1325" y="372"/>
                  </a:cubicBezTo>
                  <a:cubicBezTo>
                    <a:pt x="1304" y="389"/>
                    <a:pt x="1276" y="395"/>
                    <a:pt x="1244" y="395"/>
                  </a:cubicBezTo>
                  <a:cubicBezTo>
                    <a:pt x="1168" y="395"/>
                    <a:pt x="1116" y="343"/>
                    <a:pt x="1116" y="259"/>
                  </a:cubicBezTo>
                  <a:cubicBezTo>
                    <a:pt x="1116" y="176"/>
                    <a:pt x="1164" y="118"/>
                    <a:pt x="1235" y="118"/>
                  </a:cubicBezTo>
                  <a:cubicBezTo>
                    <a:pt x="1307" y="118"/>
                    <a:pt x="1344" y="170"/>
                    <a:pt x="1344" y="248"/>
                  </a:cubicBezTo>
                  <a:cubicBezTo>
                    <a:pt x="1344" y="264"/>
                    <a:pt x="1344" y="264"/>
                    <a:pt x="1344" y="264"/>
                  </a:cubicBezTo>
                  <a:lnTo>
                    <a:pt x="1160" y="264"/>
                  </a:lnTo>
                  <a:close/>
                  <a:moveTo>
                    <a:pt x="1163" y="229"/>
                  </a:moveTo>
                  <a:cubicBezTo>
                    <a:pt x="1300" y="229"/>
                    <a:pt x="1300" y="229"/>
                    <a:pt x="1300" y="229"/>
                  </a:cubicBezTo>
                  <a:cubicBezTo>
                    <a:pt x="1298" y="190"/>
                    <a:pt x="1279" y="156"/>
                    <a:pt x="1235" y="156"/>
                  </a:cubicBezTo>
                  <a:cubicBezTo>
                    <a:pt x="1200" y="156"/>
                    <a:pt x="1171" y="180"/>
                    <a:pt x="1163" y="229"/>
                  </a:cubicBezTo>
                  <a:close/>
                  <a:moveTo>
                    <a:pt x="1591" y="162"/>
                  </a:moveTo>
                  <a:cubicBezTo>
                    <a:pt x="1591" y="390"/>
                    <a:pt x="1591" y="390"/>
                    <a:pt x="1591" y="390"/>
                  </a:cubicBezTo>
                  <a:cubicBezTo>
                    <a:pt x="1636" y="390"/>
                    <a:pt x="1636" y="390"/>
                    <a:pt x="1636" y="390"/>
                  </a:cubicBezTo>
                  <a:cubicBezTo>
                    <a:pt x="1636" y="162"/>
                    <a:pt x="1636" y="162"/>
                    <a:pt x="1636" y="162"/>
                  </a:cubicBezTo>
                  <a:cubicBezTo>
                    <a:pt x="1697" y="162"/>
                    <a:pt x="1697" y="162"/>
                    <a:pt x="1697" y="162"/>
                  </a:cubicBezTo>
                  <a:cubicBezTo>
                    <a:pt x="1697" y="123"/>
                    <a:pt x="1697" y="123"/>
                    <a:pt x="1697" y="123"/>
                  </a:cubicBezTo>
                  <a:cubicBezTo>
                    <a:pt x="1636" y="123"/>
                    <a:pt x="1636" y="123"/>
                    <a:pt x="1636" y="123"/>
                  </a:cubicBezTo>
                  <a:cubicBezTo>
                    <a:pt x="1636" y="53"/>
                    <a:pt x="1636" y="53"/>
                    <a:pt x="1636" y="53"/>
                  </a:cubicBezTo>
                  <a:cubicBezTo>
                    <a:pt x="1591" y="53"/>
                    <a:pt x="1591" y="53"/>
                    <a:pt x="1591" y="53"/>
                  </a:cubicBezTo>
                  <a:cubicBezTo>
                    <a:pt x="1591" y="123"/>
                    <a:pt x="1591" y="123"/>
                    <a:pt x="1591" y="123"/>
                  </a:cubicBezTo>
                  <a:cubicBezTo>
                    <a:pt x="1472" y="123"/>
                    <a:pt x="1472" y="123"/>
                    <a:pt x="1472" y="123"/>
                  </a:cubicBezTo>
                  <a:cubicBezTo>
                    <a:pt x="1472" y="53"/>
                    <a:pt x="1472" y="53"/>
                    <a:pt x="1472" y="53"/>
                  </a:cubicBezTo>
                  <a:cubicBezTo>
                    <a:pt x="1427" y="53"/>
                    <a:pt x="1427" y="53"/>
                    <a:pt x="1427" y="53"/>
                  </a:cubicBezTo>
                  <a:cubicBezTo>
                    <a:pt x="1427" y="123"/>
                    <a:pt x="1427" y="123"/>
                    <a:pt x="1427" y="123"/>
                  </a:cubicBezTo>
                  <a:cubicBezTo>
                    <a:pt x="1371" y="123"/>
                    <a:pt x="1371" y="123"/>
                    <a:pt x="1371" y="123"/>
                  </a:cubicBezTo>
                  <a:cubicBezTo>
                    <a:pt x="1371" y="162"/>
                    <a:pt x="1371" y="162"/>
                    <a:pt x="1371" y="162"/>
                  </a:cubicBezTo>
                  <a:cubicBezTo>
                    <a:pt x="1427" y="162"/>
                    <a:pt x="1427" y="162"/>
                    <a:pt x="1427" y="162"/>
                  </a:cubicBezTo>
                  <a:cubicBezTo>
                    <a:pt x="1427" y="390"/>
                    <a:pt x="1427" y="390"/>
                    <a:pt x="1427" y="390"/>
                  </a:cubicBezTo>
                  <a:cubicBezTo>
                    <a:pt x="1472" y="390"/>
                    <a:pt x="1472" y="390"/>
                    <a:pt x="1472" y="390"/>
                  </a:cubicBezTo>
                  <a:cubicBezTo>
                    <a:pt x="1472" y="162"/>
                    <a:pt x="1472" y="162"/>
                    <a:pt x="1472" y="162"/>
                  </a:cubicBezTo>
                  <a:lnTo>
                    <a:pt x="1591" y="162"/>
                  </a:lnTo>
                  <a:close/>
                  <a:moveTo>
                    <a:pt x="1935" y="242"/>
                  </a:moveTo>
                  <a:cubicBezTo>
                    <a:pt x="1935" y="390"/>
                    <a:pt x="1935" y="390"/>
                    <a:pt x="1935" y="390"/>
                  </a:cubicBezTo>
                  <a:cubicBezTo>
                    <a:pt x="1888" y="390"/>
                    <a:pt x="1888" y="390"/>
                    <a:pt x="1888" y="390"/>
                  </a:cubicBezTo>
                  <a:cubicBezTo>
                    <a:pt x="1888" y="21"/>
                    <a:pt x="1888" y="21"/>
                    <a:pt x="1888" y="21"/>
                  </a:cubicBezTo>
                  <a:cubicBezTo>
                    <a:pt x="2024" y="21"/>
                    <a:pt x="2024" y="21"/>
                    <a:pt x="2024" y="21"/>
                  </a:cubicBezTo>
                  <a:cubicBezTo>
                    <a:pt x="2099" y="21"/>
                    <a:pt x="2147" y="59"/>
                    <a:pt x="2147" y="132"/>
                  </a:cubicBezTo>
                  <a:cubicBezTo>
                    <a:pt x="2147" y="204"/>
                    <a:pt x="2099" y="242"/>
                    <a:pt x="2024" y="242"/>
                  </a:cubicBezTo>
                  <a:lnTo>
                    <a:pt x="1935" y="242"/>
                  </a:lnTo>
                  <a:close/>
                  <a:moveTo>
                    <a:pt x="2024" y="63"/>
                  </a:moveTo>
                  <a:cubicBezTo>
                    <a:pt x="1935" y="63"/>
                    <a:pt x="1935" y="63"/>
                    <a:pt x="1935" y="63"/>
                  </a:cubicBezTo>
                  <a:cubicBezTo>
                    <a:pt x="1935" y="200"/>
                    <a:pt x="1935" y="200"/>
                    <a:pt x="1935" y="200"/>
                  </a:cubicBezTo>
                  <a:cubicBezTo>
                    <a:pt x="2024" y="200"/>
                    <a:pt x="2024" y="200"/>
                    <a:pt x="2024" y="200"/>
                  </a:cubicBezTo>
                  <a:cubicBezTo>
                    <a:pt x="2073" y="200"/>
                    <a:pt x="2100" y="173"/>
                    <a:pt x="2100" y="132"/>
                  </a:cubicBezTo>
                  <a:cubicBezTo>
                    <a:pt x="2100" y="90"/>
                    <a:pt x="2073" y="63"/>
                    <a:pt x="2024" y="63"/>
                  </a:cubicBezTo>
                  <a:close/>
                  <a:moveTo>
                    <a:pt x="2334" y="213"/>
                  </a:moveTo>
                  <a:cubicBezTo>
                    <a:pt x="2334" y="180"/>
                    <a:pt x="2310" y="159"/>
                    <a:pt x="2271" y="159"/>
                  </a:cubicBezTo>
                  <a:cubicBezTo>
                    <a:pt x="2241" y="159"/>
                    <a:pt x="2217" y="168"/>
                    <a:pt x="2195" y="183"/>
                  </a:cubicBezTo>
                  <a:cubicBezTo>
                    <a:pt x="2195" y="140"/>
                    <a:pt x="2195" y="140"/>
                    <a:pt x="2195" y="140"/>
                  </a:cubicBezTo>
                  <a:cubicBezTo>
                    <a:pt x="2213" y="128"/>
                    <a:pt x="2245" y="118"/>
                    <a:pt x="2278" y="118"/>
                  </a:cubicBezTo>
                  <a:cubicBezTo>
                    <a:pt x="2341" y="118"/>
                    <a:pt x="2378" y="153"/>
                    <a:pt x="2378" y="209"/>
                  </a:cubicBezTo>
                  <a:cubicBezTo>
                    <a:pt x="2378" y="390"/>
                    <a:pt x="2378" y="390"/>
                    <a:pt x="2378" y="390"/>
                  </a:cubicBezTo>
                  <a:cubicBezTo>
                    <a:pt x="2334" y="390"/>
                    <a:pt x="2334" y="390"/>
                    <a:pt x="2334" y="390"/>
                  </a:cubicBezTo>
                  <a:cubicBezTo>
                    <a:pt x="2334" y="370"/>
                    <a:pt x="2334" y="370"/>
                    <a:pt x="2334" y="370"/>
                  </a:cubicBezTo>
                  <a:cubicBezTo>
                    <a:pt x="2324" y="381"/>
                    <a:pt x="2296" y="394"/>
                    <a:pt x="2265" y="394"/>
                  </a:cubicBezTo>
                  <a:cubicBezTo>
                    <a:pt x="2211" y="394"/>
                    <a:pt x="2166" y="362"/>
                    <a:pt x="2166" y="309"/>
                  </a:cubicBezTo>
                  <a:cubicBezTo>
                    <a:pt x="2166" y="260"/>
                    <a:pt x="2211" y="226"/>
                    <a:pt x="2268" y="226"/>
                  </a:cubicBezTo>
                  <a:cubicBezTo>
                    <a:pt x="2295" y="226"/>
                    <a:pt x="2323" y="237"/>
                    <a:pt x="2334" y="248"/>
                  </a:cubicBezTo>
                  <a:lnTo>
                    <a:pt x="2334" y="213"/>
                  </a:lnTo>
                  <a:close/>
                  <a:moveTo>
                    <a:pt x="2334" y="296"/>
                  </a:moveTo>
                  <a:cubicBezTo>
                    <a:pt x="2327" y="276"/>
                    <a:pt x="2301" y="263"/>
                    <a:pt x="2272" y="263"/>
                  </a:cubicBezTo>
                  <a:cubicBezTo>
                    <a:pt x="2240" y="263"/>
                    <a:pt x="2209" y="278"/>
                    <a:pt x="2209" y="309"/>
                  </a:cubicBezTo>
                  <a:cubicBezTo>
                    <a:pt x="2209" y="342"/>
                    <a:pt x="2240" y="357"/>
                    <a:pt x="2272" y="357"/>
                  </a:cubicBezTo>
                  <a:cubicBezTo>
                    <a:pt x="2301" y="357"/>
                    <a:pt x="2327" y="344"/>
                    <a:pt x="2334" y="324"/>
                  </a:cubicBezTo>
                  <a:lnTo>
                    <a:pt x="2334" y="296"/>
                  </a:lnTo>
                  <a:close/>
                  <a:moveTo>
                    <a:pt x="2559" y="118"/>
                  </a:moveTo>
                  <a:cubicBezTo>
                    <a:pt x="2585" y="118"/>
                    <a:pt x="2612" y="124"/>
                    <a:pt x="2631" y="140"/>
                  </a:cubicBezTo>
                  <a:cubicBezTo>
                    <a:pt x="2631" y="186"/>
                    <a:pt x="2631" y="186"/>
                    <a:pt x="2631" y="186"/>
                  </a:cubicBezTo>
                  <a:cubicBezTo>
                    <a:pt x="2611" y="167"/>
                    <a:pt x="2588" y="158"/>
                    <a:pt x="2562" y="158"/>
                  </a:cubicBezTo>
                  <a:cubicBezTo>
                    <a:pt x="2515" y="158"/>
                    <a:pt x="2476" y="195"/>
                    <a:pt x="2476" y="257"/>
                  </a:cubicBezTo>
                  <a:cubicBezTo>
                    <a:pt x="2476" y="318"/>
                    <a:pt x="2515" y="355"/>
                    <a:pt x="2562" y="355"/>
                  </a:cubicBezTo>
                  <a:cubicBezTo>
                    <a:pt x="2588" y="355"/>
                    <a:pt x="2611" y="347"/>
                    <a:pt x="2631" y="327"/>
                  </a:cubicBezTo>
                  <a:cubicBezTo>
                    <a:pt x="2631" y="373"/>
                    <a:pt x="2631" y="373"/>
                    <a:pt x="2631" y="373"/>
                  </a:cubicBezTo>
                  <a:cubicBezTo>
                    <a:pt x="2612" y="389"/>
                    <a:pt x="2585" y="395"/>
                    <a:pt x="2559" y="395"/>
                  </a:cubicBezTo>
                  <a:cubicBezTo>
                    <a:pt x="2487" y="395"/>
                    <a:pt x="2431" y="342"/>
                    <a:pt x="2431" y="257"/>
                  </a:cubicBezTo>
                  <a:cubicBezTo>
                    <a:pt x="2431" y="171"/>
                    <a:pt x="2487" y="118"/>
                    <a:pt x="2559" y="118"/>
                  </a:cubicBezTo>
                  <a:close/>
                  <a:moveTo>
                    <a:pt x="2917" y="390"/>
                  </a:moveTo>
                  <a:cubicBezTo>
                    <a:pt x="2861" y="390"/>
                    <a:pt x="2861" y="390"/>
                    <a:pt x="2861" y="390"/>
                  </a:cubicBezTo>
                  <a:cubicBezTo>
                    <a:pt x="2738" y="258"/>
                    <a:pt x="2738" y="258"/>
                    <a:pt x="2738" y="258"/>
                  </a:cubicBezTo>
                  <a:cubicBezTo>
                    <a:pt x="2738" y="390"/>
                    <a:pt x="2738" y="390"/>
                    <a:pt x="2738" y="390"/>
                  </a:cubicBezTo>
                  <a:cubicBezTo>
                    <a:pt x="2693" y="390"/>
                    <a:pt x="2693" y="390"/>
                    <a:pt x="2693" y="390"/>
                  </a:cubicBezTo>
                  <a:cubicBezTo>
                    <a:pt x="2693" y="0"/>
                    <a:pt x="2693" y="0"/>
                    <a:pt x="2693" y="0"/>
                  </a:cubicBezTo>
                  <a:cubicBezTo>
                    <a:pt x="2738" y="0"/>
                    <a:pt x="2738" y="0"/>
                    <a:pt x="2738" y="0"/>
                  </a:cubicBezTo>
                  <a:cubicBezTo>
                    <a:pt x="2738" y="236"/>
                    <a:pt x="2738" y="236"/>
                    <a:pt x="2738" y="236"/>
                  </a:cubicBezTo>
                  <a:cubicBezTo>
                    <a:pt x="2856" y="123"/>
                    <a:pt x="2856" y="123"/>
                    <a:pt x="2856" y="123"/>
                  </a:cubicBezTo>
                  <a:cubicBezTo>
                    <a:pt x="2914" y="123"/>
                    <a:pt x="2914" y="123"/>
                    <a:pt x="2914" y="123"/>
                  </a:cubicBezTo>
                  <a:cubicBezTo>
                    <a:pt x="2784" y="245"/>
                    <a:pt x="2784" y="245"/>
                    <a:pt x="2784" y="245"/>
                  </a:cubicBezTo>
                  <a:lnTo>
                    <a:pt x="2917" y="390"/>
                  </a:lnTo>
                  <a:close/>
                  <a:moveTo>
                    <a:pt x="3104" y="213"/>
                  </a:moveTo>
                  <a:cubicBezTo>
                    <a:pt x="3104" y="180"/>
                    <a:pt x="3079" y="159"/>
                    <a:pt x="3040" y="159"/>
                  </a:cubicBezTo>
                  <a:cubicBezTo>
                    <a:pt x="3011" y="159"/>
                    <a:pt x="2987" y="168"/>
                    <a:pt x="2965" y="183"/>
                  </a:cubicBezTo>
                  <a:cubicBezTo>
                    <a:pt x="2965" y="140"/>
                    <a:pt x="2965" y="140"/>
                    <a:pt x="2965" y="140"/>
                  </a:cubicBezTo>
                  <a:cubicBezTo>
                    <a:pt x="2982" y="128"/>
                    <a:pt x="3014" y="118"/>
                    <a:pt x="3047" y="118"/>
                  </a:cubicBezTo>
                  <a:cubicBezTo>
                    <a:pt x="3110" y="118"/>
                    <a:pt x="3147" y="153"/>
                    <a:pt x="3147" y="209"/>
                  </a:cubicBezTo>
                  <a:cubicBezTo>
                    <a:pt x="3147" y="390"/>
                    <a:pt x="3147" y="390"/>
                    <a:pt x="3147" y="390"/>
                  </a:cubicBezTo>
                  <a:cubicBezTo>
                    <a:pt x="3104" y="390"/>
                    <a:pt x="3104" y="390"/>
                    <a:pt x="3104" y="390"/>
                  </a:cubicBezTo>
                  <a:cubicBezTo>
                    <a:pt x="3104" y="370"/>
                    <a:pt x="3104" y="370"/>
                    <a:pt x="3104" y="370"/>
                  </a:cubicBezTo>
                  <a:cubicBezTo>
                    <a:pt x="3093" y="381"/>
                    <a:pt x="3066" y="394"/>
                    <a:pt x="3035" y="394"/>
                  </a:cubicBezTo>
                  <a:cubicBezTo>
                    <a:pt x="2980" y="394"/>
                    <a:pt x="2936" y="362"/>
                    <a:pt x="2936" y="309"/>
                  </a:cubicBezTo>
                  <a:cubicBezTo>
                    <a:pt x="2936" y="260"/>
                    <a:pt x="2980" y="226"/>
                    <a:pt x="3037" y="226"/>
                  </a:cubicBezTo>
                  <a:cubicBezTo>
                    <a:pt x="3065" y="226"/>
                    <a:pt x="3092" y="237"/>
                    <a:pt x="3104" y="248"/>
                  </a:cubicBezTo>
                  <a:lnTo>
                    <a:pt x="3104" y="213"/>
                  </a:lnTo>
                  <a:close/>
                  <a:moveTo>
                    <a:pt x="3104" y="296"/>
                  </a:moveTo>
                  <a:cubicBezTo>
                    <a:pt x="3096" y="276"/>
                    <a:pt x="3070" y="263"/>
                    <a:pt x="3042" y="263"/>
                  </a:cubicBezTo>
                  <a:cubicBezTo>
                    <a:pt x="3009" y="263"/>
                    <a:pt x="2978" y="278"/>
                    <a:pt x="2978" y="309"/>
                  </a:cubicBezTo>
                  <a:cubicBezTo>
                    <a:pt x="2978" y="342"/>
                    <a:pt x="3009" y="357"/>
                    <a:pt x="3042" y="357"/>
                  </a:cubicBezTo>
                  <a:cubicBezTo>
                    <a:pt x="3070" y="357"/>
                    <a:pt x="3096" y="344"/>
                    <a:pt x="3104" y="324"/>
                  </a:cubicBezTo>
                  <a:lnTo>
                    <a:pt x="3104" y="296"/>
                  </a:lnTo>
                  <a:close/>
                  <a:moveTo>
                    <a:pt x="3354" y="168"/>
                  </a:moveTo>
                  <a:cubicBezTo>
                    <a:pt x="3347" y="164"/>
                    <a:pt x="3335" y="161"/>
                    <a:pt x="3324" y="161"/>
                  </a:cubicBezTo>
                  <a:cubicBezTo>
                    <a:pt x="3296" y="161"/>
                    <a:pt x="3271" y="180"/>
                    <a:pt x="3262" y="211"/>
                  </a:cubicBezTo>
                  <a:cubicBezTo>
                    <a:pt x="3262" y="390"/>
                    <a:pt x="3262" y="390"/>
                    <a:pt x="3262" y="390"/>
                  </a:cubicBezTo>
                  <a:cubicBezTo>
                    <a:pt x="3217" y="390"/>
                    <a:pt x="3217" y="390"/>
                    <a:pt x="3217" y="390"/>
                  </a:cubicBezTo>
                  <a:cubicBezTo>
                    <a:pt x="3217" y="123"/>
                    <a:pt x="3217" y="123"/>
                    <a:pt x="3217" y="123"/>
                  </a:cubicBezTo>
                  <a:cubicBezTo>
                    <a:pt x="3262" y="123"/>
                    <a:pt x="3262" y="123"/>
                    <a:pt x="3262" y="123"/>
                  </a:cubicBezTo>
                  <a:cubicBezTo>
                    <a:pt x="3262" y="158"/>
                    <a:pt x="3262" y="158"/>
                    <a:pt x="3262" y="158"/>
                  </a:cubicBezTo>
                  <a:cubicBezTo>
                    <a:pt x="3274" y="135"/>
                    <a:pt x="3299" y="118"/>
                    <a:pt x="3328" y="118"/>
                  </a:cubicBezTo>
                  <a:cubicBezTo>
                    <a:pt x="3340" y="118"/>
                    <a:pt x="3349" y="120"/>
                    <a:pt x="3354" y="122"/>
                  </a:cubicBezTo>
                  <a:lnTo>
                    <a:pt x="3354" y="168"/>
                  </a:lnTo>
                  <a:close/>
                  <a:moveTo>
                    <a:pt x="3576" y="358"/>
                  </a:moveTo>
                  <a:cubicBezTo>
                    <a:pt x="3563" y="378"/>
                    <a:pt x="3534" y="395"/>
                    <a:pt x="3501" y="395"/>
                  </a:cubicBezTo>
                  <a:cubicBezTo>
                    <a:pt x="3423" y="395"/>
                    <a:pt x="3381" y="332"/>
                    <a:pt x="3381" y="257"/>
                  </a:cubicBezTo>
                  <a:cubicBezTo>
                    <a:pt x="3381" y="182"/>
                    <a:pt x="3423" y="118"/>
                    <a:pt x="3501" y="118"/>
                  </a:cubicBezTo>
                  <a:cubicBezTo>
                    <a:pt x="3534" y="118"/>
                    <a:pt x="3563" y="135"/>
                    <a:pt x="3576" y="155"/>
                  </a:cubicBezTo>
                  <a:cubicBezTo>
                    <a:pt x="3576" y="0"/>
                    <a:pt x="3576" y="0"/>
                    <a:pt x="3576" y="0"/>
                  </a:cubicBezTo>
                  <a:cubicBezTo>
                    <a:pt x="3621" y="0"/>
                    <a:pt x="3621" y="0"/>
                    <a:pt x="3621" y="0"/>
                  </a:cubicBezTo>
                  <a:cubicBezTo>
                    <a:pt x="3621" y="390"/>
                    <a:pt x="3621" y="390"/>
                    <a:pt x="3621" y="390"/>
                  </a:cubicBezTo>
                  <a:cubicBezTo>
                    <a:pt x="3576" y="390"/>
                    <a:pt x="3576" y="390"/>
                    <a:pt x="3576" y="390"/>
                  </a:cubicBezTo>
                  <a:lnTo>
                    <a:pt x="3576" y="358"/>
                  </a:lnTo>
                  <a:close/>
                  <a:moveTo>
                    <a:pt x="3576" y="203"/>
                  </a:moveTo>
                  <a:cubicBezTo>
                    <a:pt x="3562" y="175"/>
                    <a:pt x="3536" y="159"/>
                    <a:pt x="3507" y="159"/>
                  </a:cubicBezTo>
                  <a:cubicBezTo>
                    <a:pt x="3456" y="159"/>
                    <a:pt x="3426" y="200"/>
                    <a:pt x="3426" y="257"/>
                  </a:cubicBezTo>
                  <a:cubicBezTo>
                    <a:pt x="3426" y="313"/>
                    <a:pt x="3456" y="354"/>
                    <a:pt x="3507" y="354"/>
                  </a:cubicBezTo>
                  <a:cubicBezTo>
                    <a:pt x="3536" y="354"/>
                    <a:pt x="3562" y="338"/>
                    <a:pt x="3576" y="311"/>
                  </a:cubicBezTo>
                  <a:lnTo>
                    <a:pt x="3576" y="20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 dirty="0">
                <a:solidFill>
                  <a:prstClr val="black"/>
                </a:solidFill>
                <a:ea typeface="Arial"/>
                <a:cs typeface="Arial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-1752600" y="385577"/>
              <a:ext cx="4140203" cy="5981709"/>
            </a:xfrm>
            <a:custGeom>
              <a:avLst/>
              <a:gdLst>
                <a:gd name="T0" fmla="*/ 1448 w 2608"/>
                <a:gd name="T1" fmla="*/ 3768 h 3768"/>
                <a:gd name="T2" fmla="*/ 0 w 2608"/>
                <a:gd name="T3" fmla="*/ 3768 h 3768"/>
                <a:gd name="T4" fmla="*/ 0 w 2608"/>
                <a:gd name="T5" fmla="*/ 0 h 3768"/>
                <a:gd name="T6" fmla="*/ 2029 w 2608"/>
                <a:gd name="T7" fmla="*/ 0 h 3768"/>
                <a:gd name="T8" fmla="*/ 2029 w 2608"/>
                <a:gd name="T9" fmla="*/ 2608 h 3768"/>
                <a:gd name="T10" fmla="*/ 1160 w 2608"/>
                <a:gd name="T11" fmla="*/ 2608 h 3768"/>
                <a:gd name="T12" fmla="*/ 1160 w 2608"/>
                <a:gd name="T13" fmla="*/ 869 h 3768"/>
                <a:gd name="T14" fmla="*/ 869 w 2608"/>
                <a:gd name="T15" fmla="*/ 869 h 3768"/>
                <a:gd name="T16" fmla="*/ 869 w 2608"/>
                <a:gd name="T17" fmla="*/ 2898 h 3768"/>
                <a:gd name="T18" fmla="*/ 2608 w 2608"/>
                <a:gd name="T19" fmla="*/ 2898 h 3768"/>
                <a:gd name="T20" fmla="*/ 2608 w 2608"/>
                <a:gd name="T21" fmla="*/ 3187 h 3768"/>
                <a:gd name="T22" fmla="*/ 581 w 2608"/>
                <a:gd name="T23" fmla="*/ 3187 h 3768"/>
                <a:gd name="T24" fmla="*/ 581 w 2608"/>
                <a:gd name="T25" fmla="*/ 579 h 3768"/>
                <a:gd name="T26" fmla="*/ 1448 w 2608"/>
                <a:gd name="T27" fmla="*/ 579 h 3768"/>
                <a:gd name="T28" fmla="*/ 1448 w 2608"/>
                <a:gd name="T29" fmla="*/ 2317 h 3768"/>
                <a:gd name="T30" fmla="*/ 1738 w 2608"/>
                <a:gd name="T31" fmla="*/ 2317 h 3768"/>
                <a:gd name="T32" fmla="*/ 1738 w 2608"/>
                <a:gd name="T33" fmla="*/ 288 h 3768"/>
                <a:gd name="T34" fmla="*/ 288 w 2608"/>
                <a:gd name="T35" fmla="*/ 288 h 3768"/>
                <a:gd name="T36" fmla="*/ 288 w 2608"/>
                <a:gd name="T37" fmla="*/ 3477 h 3768"/>
                <a:gd name="T38" fmla="*/ 1448 w 2608"/>
                <a:gd name="T39" fmla="*/ 3477 h 3768"/>
                <a:gd name="T40" fmla="*/ 1448 w 2608"/>
                <a:gd name="T41" fmla="*/ 3768 h 3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608" h="3768">
                  <a:moveTo>
                    <a:pt x="1448" y="3768"/>
                  </a:moveTo>
                  <a:lnTo>
                    <a:pt x="0" y="3768"/>
                  </a:lnTo>
                  <a:lnTo>
                    <a:pt x="0" y="0"/>
                  </a:lnTo>
                  <a:lnTo>
                    <a:pt x="2029" y="0"/>
                  </a:lnTo>
                  <a:lnTo>
                    <a:pt x="2029" y="2608"/>
                  </a:lnTo>
                  <a:lnTo>
                    <a:pt x="1160" y="2608"/>
                  </a:lnTo>
                  <a:lnTo>
                    <a:pt x="1160" y="869"/>
                  </a:lnTo>
                  <a:lnTo>
                    <a:pt x="869" y="869"/>
                  </a:lnTo>
                  <a:lnTo>
                    <a:pt x="869" y="2898"/>
                  </a:lnTo>
                  <a:lnTo>
                    <a:pt x="2608" y="2898"/>
                  </a:lnTo>
                  <a:lnTo>
                    <a:pt x="2608" y="3187"/>
                  </a:lnTo>
                  <a:lnTo>
                    <a:pt x="581" y="3187"/>
                  </a:lnTo>
                  <a:lnTo>
                    <a:pt x="581" y="579"/>
                  </a:lnTo>
                  <a:lnTo>
                    <a:pt x="1448" y="579"/>
                  </a:lnTo>
                  <a:lnTo>
                    <a:pt x="1448" y="2317"/>
                  </a:lnTo>
                  <a:lnTo>
                    <a:pt x="1738" y="2317"/>
                  </a:lnTo>
                  <a:lnTo>
                    <a:pt x="1738" y="288"/>
                  </a:lnTo>
                  <a:lnTo>
                    <a:pt x="288" y="288"/>
                  </a:lnTo>
                  <a:lnTo>
                    <a:pt x="288" y="3477"/>
                  </a:lnTo>
                  <a:lnTo>
                    <a:pt x="1448" y="3477"/>
                  </a:lnTo>
                  <a:lnTo>
                    <a:pt x="1448" y="3768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50" dirty="0">
                <a:solidFill>
                  <a:prstClr val="black"/>
                </a:solidFill>
                <a:ea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3842627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381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9" y="457000"/>
            <a:ext cx="2270363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6527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4939696"/>
            <a:ext cx="6856214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5791200"/>
            <a:ext cx="6856214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3" y="457203"/>
            <a:ext cx="2735158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0310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26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609600"/>
            <a:ext cx="6171008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2545616"/>
            <a:ext cx="6171008" cy="60842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7045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608806"/>
            <a:ext cx="8228528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990602"/>
            <a:ext cx="6171008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600885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27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257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72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350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193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416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6012" y="6248401"/>
            <a:ext cx="727103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3900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90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3"/>
            <a:ext cx="8227338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4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02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152400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8155"/>
            <a:ext cx="8227338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3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07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71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123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79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65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84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43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283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2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7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5886450" cy="4572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524000"/>
            <a:ext cx="2226588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67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524000"/>
            <a:ext cx="3083838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96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524000"/>
            <a:ext cx="3083838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03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3943350" cy="852364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819400"/>
            <a:ext cx="27432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1" y="519236"/>
            <a:ext cx="41147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91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953000"/>
            <a:ext cx="3984498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4953000"/>
            <a:ext cx="3984498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002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25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5015896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79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3854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300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1" y="519236"/>
            <a:ext cx="914399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19238"/>
            <a:ext cx="725805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627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9" y="457000"/>
            <a:ext cx="2270363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57358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580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ER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206876" y="6503347"/>
            <a:ext cx="744538" cy="365125"/>
          </a:xfrm>
          <a:prstGeom prst="rect">
            <a:avLst/>
          </a:prstGeom>
        </p:spPr>
        <p:txBody>
          <a:bodyPr/>
          <a:lstStyle/>
          <a:p>
            <a:fld id="{68B429F8-1E8B-094C-8322-204051DF40BC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>
              <a:solidFill>
                <a:srgbClr val="5F7A76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" y="3539"/>
            <a:ext cx="9143999" cy="1079499"/>
          </a:xfrm>
          <a:prstGeom prst="rect">
            <a:avLst/>
          </a:prstGeom>
        </p:spPr>
        <p:txBody>
          <a:bodyPr vert="horz" lIns="365760" tIns="228600" rIns="365760" bIns="0"/>
          <a:lstStyle>
            <a:lvl1pPr algn="l">
              <a:lnSpc>
                <a:spcPct val="90000"/>
              </a:lnSpc>
              <a:defRPr sz="2200" b="1">
                <a:solidFill>
                  <a:srgbClr val="002B46"/>
                </a:solidFill>
                <a:latin typeface="Helvetic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233446" y="1444449"/>
            <a:ext cx="8674699" cy="4432951"/>
          </a:xfrm>
          <a:prstGeom prst="rect">
            <a:avLst/>
          </a:prstGeom>
        </p:spPr>
        <p:txBody>
          <a:bodyPr vert="horz"/>
          <a:lstStyle>
            <a:lvl1pPr>
              <a:defRPr sz="2800">
                <a:latin typeface="Helvetica"/>
                <a:cs typeface="Helvetica"/>
              </a:defRPr>
            </a:lvl1pPr>
            <a:lvl2pPr>
              <a:defRPr sz="2400">
                <a:latin typeface="Helvetica"/>
                <a:cs typeface="Helvetica"/>
              </a:defRPr>
            </a:lvl2pPr>
            <a:lvl3pPr>
              <a:defRPr sz="2000">
                <a:latin typeface="Helvetica"/>
                <a:cs typeface="Helvetica"/>
              </a:defRPr>
            </a:lvl3pPr>
            <a:lvl4pPr>
              <a:defRPr sz="1800">
                <a:latin typeface="Helvetica"/>
                <a:cs typeface="Helvetica"/>
              </a:defRPr>
            </a:lvl4pPr>
            <a:lvl5pPr>
              <a:defRPr sz="1800"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605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313418"/>
            <a:ext cx="8460105" cy="29084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584964"/>
            <a:ext cx="4030662" cy="42930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581152"/>
            <a:ext cx="3878264" cy="4296832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1001854"/>
            <a:ext cx="8460105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4170406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ower_Title-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167" y="206935"/>
            <a:ext cx="8457635" cy="587188"/>
          </a:xfrm>
          <a:noFill/>
        </p:spPr>
        <p:txBody>
          <a:bodyPr vert="horz" lIns="217728" tIns="109728" rIns="217728" bIns="108864" rtlCol="0" anchor="t" anchorCtr="0">
            <a:normAutofit/>
          </a:bodyPr>
          <a:lstStyle>
            <a:lvl1pPr>
              <a:defRPr lang="en-US" dirty="0"/>
            </a:lvl1pPr>
          </a:lstStyle>
          <a:p>
            <a:pPr marL="0" lvl="0">
              <a:lnSpc>
                <a:spcPct val="9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167" y="1888941"/>
            <a:ext cx="5875565" cy="13876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 bwMode="white">
          <a:xfrm>
            <a:off x="229167" y="674599"/>
            <a:ext cx="8457635" cy="587188"/>
          </a:xfrm>
        </p:spPr>
        <p:txBody>
          <a:bodyPr/>
          <a:lstStyle>
            <a:lvl1pPr>
              <a:defRPr lang="en-US" sz="1575" kern="1200" baseline="0" dirty="0">
                <a:solidFill>
                  <a:schemeClr val="bg1"/>
                </a:solidFill>
                <a:latin typeface="MetricHPE" pitchFamily="34" charset="0"/>
                <a:ea typeface="+mj-ea"/>
                <a:cs typeface="+mj-cs"/>
              </a:defRPr>
            </a:lvl1pPr>
            <a:lvl2pPr>
              <a:defRPr lang="en-US" sz="1575" kern="1200" baseline="0" dirty="0" smtClean="0">
                <a:solidFill>
                  <a:schemeClr val="bg1"/>
                </a:solidFill>
                <a:latin typeface="Metric Regular" pitchFamily="34" charset="0"/>
                <a:ea typeface="+mj-ea"/>
                <a:cs typeface="+mj-cs"/>
              </a:defRPr>
            </a:lvl2pPr>
            <a:lvl3pPr>
              <a:defRPr lang="en-US" sz="1575" kern="1200" baseline="0" dirty="0" smtClean="0">
                <a:solidFill>
                  <a:schemeClr val="bg1"/>
                </a:solidFill>
                <a:latin typeface="Metric Regular" pitchFamily="34" charset="0"/>
                <a:ea typeface="+mj-ea"/>
                <a:cs typeface="+mj-cs"/>
              </a:defRPr>
            </a:lvl3pPr>
            <a:lvl4pPr>
              <a:defRPr lang="en-US" sz="1575" kern="1200" baseline="0" dirty="0" smtClean="0">
                <a:solidFill>
                  <a:schemeClr val="bg1"/>
                </a:solidFill>
                <a:latin typeface="Metric Regular" pitchFamily="34" charset="0"/>
                <a:ea typeface="+mj-ea"/>
                <a:cs typeface="+mj-cs"/>
              </a:defRPr>
            </a:lvl4pPr>
            <a:lvl5pPr>
              <a:defRPr lang="en-US" sz="1575" kern="1200" baseline="0" dirty="0">
                <a:solidFill>
                  <a:schemeClr val="bg1"/>
                </a:solidFill>
                <a:latin typeface="Metric Regular" pitchFamily="34" charset="0"/>
                <a:ea typeface="+mj-ea"/>
                <a:cs typeface="+mj-cs"/>
              </a:defRPr>
            </a:lvl5pPr>
          </a:lstStyle>
          <a:p>
            <a:pPr marL="0" lvl="0" indent="0" algn="l" defTabSz="816316" rtl="0" eaLnBrk="1" latinLnBrk="0" hangingPunct="1">
              <a:lnSpc>
                <a:spcPct val="90000"/>
              </a:lnSpc>
              <a:spcBef>
                <a:spcPts val="225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29167" y="3276601"/>
            <a:ext cx="5875565" cy="1867928"/>
          </a:xfrm>
        </p:spPr>
        <p:txBody>
          <a:bodyPr/>
          <a:lstStyle>
            <a:lvl1pPr marL="109516" indent="-109516">
              <a:buFont typeface="Arial" panose="020B0604020202020204" pitchFamily="34" charset="0"/>
              <a:buChar char="•"/>
              <a:defRPr lang="en-US" sz="1949" kern="1200" dirty="0" smtClean="0">
                <a:solidFill>
                  <a:schemeClr val="tx1"/>
                </a:solidFill>
                <a:latin typeface="MetricHPE Semibold" pitchFamily="34" charset="0"/>
                <a:ea typeface="+mn-ea"/>
                <a:cs typeface="+mn-cs"/>
              </a:defRPr>
            </a:lvl1pPr>
            <a:lvl2pPr marL="109516" indent="-109516">
              <a:defRPr/>
            </a:lvl2pPr>
            <a:lvl3pPr marL="109516" indent="-109516">
              <a:defRPr/>
            </a:lvl3pPr>
            <a:lvl4pPr marL="109516" indent="-109516">
              <a:defRPr/>
            </a:lvl4pPr>
            <a:lvl5pPr marL="109516" indent="-109516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marL="109516" lvl="2" indent="-109516" algn="l" defTabSz="816316" rtl="0" eaLnBrk="1" latinLnBrk="0" hangingPunct="1">
              <a:lnSpc>
                <a:spcPct val="9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109516" lvl="1" indent="-109516" algn="l" defTabSz="816316" rtl="0" eaLnBrk="1" latinLnBrk="0" hangingPunct="1">
              <a:lnSpc>
                <a:spcPct val="9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dirty="0"/>
              <a:t>Third level</a:t>
            </a:r>
          </a:p>
          <a:p>
            <a:pPr marL="109516" lvl="1" indent="-109516" algn="l" defTabSz="816316" rtl="0" eaLnBrk="1" latinLnBrk="0" hangingPunct="1">
              <a:lnSpc>
                <a:spcPct val="9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109516" lvl="1" indent="-109516" algn="l" defTabSz="816316" rtl="0" eaLnBrk="1" latinLnBrk="0" hangingPunct="1">
              <a:lnSpc>
                <a:spcPct val="90000"/>
              </a:lnSpc>
              <a:spcBef>
                <a:spcPts val="225"/>
              </a:spcBef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078445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5322" y="903663"/>
            <a:ext cx="8117206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500" b="0" i="0">
                <a:solidFill>
                  <a:schemeClr val="bg1">
                    <a:lumMod val="65000"/>
                  </a:schemeClr>
                </a:solidFill>
                <a:latin typeface="HP Simplified" pitchFamily="34" charset="0"/>
                <a:cs typeface="HP Simplified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313419"/>
            <a:ext cx="8117206" cy="574516"/>
          </a:xfrm>
        </p:spPr>
        <p:txBody>
          <a:bodyPr wrap="square">
            <a:noAutofit/>
          </a:bodyPr>
          <a:lstStyle>
            <a:lvl1pPr>
              <a:defRPr sz="2100"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idx="10"/>
          </p:nvPr>
        </p:nvSpPr>
        <p:spPr bwMode="black">
          <a:xfrm>
            <a:off x="329184" y="1503135"/>
            <a:ext cx="8119872" cy="42930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marR="0" indent="0" algn="l" defTabSz="45715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Tx/>
              <a:buSzPct val="100000"/>
              <a:buFont typeface="Arial"/>
              <a:buNone/>
              <a:tabLst/>
              <a:defRPr sz="1500"/>
            </a:lvl1pPr>
            <a:lvl2pPr marL="288897" marR="0" indent="-171434" algn="l" defTabSz="430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Pct val="100000"/>
              <a:buFont typeface="Arial" pitchFamily="34" charset="0"/>
              <a:buChar char="•"/>
              <a:tabLst/>
              <a:defRPr sz="1350"/>
            </a:lvl2pPr>
            <a:lvl3pPr marL="460328" marR="0" indent="-171434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HP Simplified" pitchFamily="34" charset="0"/>
              <a:buChar char="–"/>
              <a:tabLst/>
              <a:defRPr sz="1200"/>
            </a:lvl3pPr>
            <a:lvl4pPr marL="625415" marR="0" indent="-171434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Pct val="80000"/>
              <a:buFont typeface="Courier New" pitchFamily="49" charset="0"/>
              <a:buChar char="o"/>
              <a:tabLst/>
              <a:defRPr sz="1050"/>
            </a:lvl4pPr>
            <a:lvl5pPr marL="796845" marR="0" indent="-171434" algn="l" defTabSz="4571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Wingdings" pitchFamily="2" charset="2"/>
              <a:buChar char="§"/>
              <a:tabLst/>
              <a:defRPr sz="900"/>
            </a:lvl5pPr>
          </a:lstStyle>
          <a:p>
            <a:pPr marL="0" marR="0" lvl="0" indent="0" algn="l" defTabSz="45715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</a:rPr>
              <a:t>Click to edit Master text styles</a:t>
            </a:r>
          </a:p>
          <a:p>
            <a:pPr marL="0" marR="0" lvl="1" indent="0" algn="l" defTabSz="45715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</a:rPr>
              <a:t>Second level</a:t>
            </a:r>
          </a:p>
          <a:p>
            <a:pPr marL="0" marR="0" lvl="2" indent="0" algn="l" defTabSz="45715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</a:rPr>
              <a:t>Third level</a:t>
            </a:r>
          </a:p>
          <a:p>
            <a:pPr marL="0" marR="0" lvl="3" indent="0" algn="l" defTabSz="45715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</a:rPr>
              <a:t>Fourth level</a:t>
            </a:r>
          </a:p>
          <a:p>
            <a:pPr marL="0" marR="0" lvl="4" indent="0" algn="l" defTabSz="457154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00"/>
              </a:spcAft>
              <a:buClrTx/>
              <a:buSzPct val="100000"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HP Simplified" pitchFamily="34" charset="0"/>
                <a:ea typeface="+mn-ea"/>
              </a:rPr>
              <a:t>Fifth level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P Simplified" pitchFamily="34" charset="0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3924263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 with Nam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15213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8272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5999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201" y="4939697"/>
            <a:ext cx="6856214" cy="69910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99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201" y="5791200"/>
            <a:ext cx="6856214" cy="45720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099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3" y="457204"/>
            <a:ext cx="2735158" cy="3541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80220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Picture">
    <p:bg bwMode="ltGray"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spect="1"/>
          </p:cNvSpPr>
          <p:nvPr userDrawn="1"/>
        </p:nvSpPr>
        <p:spPr bwMode="ltGray">
          <a:xfrm>
            <a:off x="668584" y="4040194"/>
            <a:ext cx="7808667" cy="2055806"/>
          </a:xfrm>
          <a:prstGeom prst="rect">
            <a:avLst/>
          </a:prstGeom>
          <a:noFill/>
          <a:ln w="571500">
            <a:solidFill>
              <a:srgbClr val="00B3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37" y="456997"/>
            <a:ext cx="3362325" cy="18669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7258052" y="457000"/>
            <a:ext cx="1427303" cy="45740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350" dirty="0">
                <a:solidFill>
                  <a:prstClr val="white"/>
                </a:solidFill>
              </a:rPr>
              <a:t>#Hashtag</a:t>
            </a:r>
          </a:p>
        </p:txBody>
      </p:sp>
    </p:spTree>
    <p:extLst>
      <p:ext uri="{BB962C8B-B14F-4D97-AF65-F5344CB8AC3E}">
        <p14:creationId xmlns:p14="http://schemas.microsoft.com/office/powerpoint/2010/main" val="124133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ltGray">
          <a:xfrm>
            <a:off x="0" y="381000"/>
            <a:ext cx="6972300" cy="3200400"/>
          </a:xfrm>
          <a:prstGeom prst="rect">
            <a:avLst/>
          </a:prstGeom>
          <a:solidFill>
            <a:srgbClr val="425563">
              <a:alpha val="8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sz="675" kern="0" err="1">
              <a:solidFill>
                <a:sysClr val="windowText" lastClr="000000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454818" y="3035752"/>
            <a:ext cx="4231483" cy="5456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solidFill>
                  <a:prstClr val="white"/>
                </a:solidFill>
                <a:ea typeface="MetricHPE" charset="0"/>
                <a:cs typeface="MetricHPE" charset="0"/>
              </a:rPr>
              <a:t>@HPE_Discover </a:t>
            </a:r>
            <a:r>
              <a:rPr lang="en-US" sz="2400" dirty="0">
                <a:solidFill>
                  <a:prstClr val="white"/>
                </a:solidFill>
                <a:ea typeface="MetricHPE" charset="0"/>
                <a:cs typeface="MetricHPE" charset="0"/>
              </a:rPr>
              <a:t>#</a:t>
            </a:r>
            <a:r>
              <a:rPr lang="en-US" sz="2400" dirty="0" err="1">
                <a:solidFill>
                  <a:prstClr val="white"/>
                </a:solidFill>
                <a:ea typeface="MetricHPE" charset="0"/>
                <a:cs typeface="MetricHPE" charset="0"/>
              </a:rPr>
              <a:t>HPEDiscover</a:t>
            </a:r>
            <a:endParaRPr lang="en-US" sz="2400" dirty="0">
              <a:solidFill>
                <a:prstClr val="white"/>
              </a:solidFill>
              <a:ea typeface="MetricHPE" charset="0"/>
              <a:cs typeface="MetricHPE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7F9FCE85-EDF9-4FDE-B0CE-A9F7DDAFF27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4820" y="685800"/>
            <a:ext cx="6174581" cy="1828800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9845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ltGray">
          <a:xfrm>
            <a:off x="0" y="381000"/>
            <a:ext cx="6972300" cy="3200400"/>
          </a:xfrm>
          <a:prstGeom prst="rect">
            <a:avLst/>
          </a:prstGeom>
          <a:solidFill>
            <a:srgbClr val="425563">
              <a:alpha val="8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sz="675" kern="0" err="1">
              <a:solidFill>
                <a:sysClr val="windowText" lastClr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454818" y="3035752"/>
            <a:ext cx="4231483" cy="5456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solidFill>
                  <a:prstClr val="white"/>
                </a:solidFill>
                <a:ea typeface="MetricHPE" charset="0"/>
                <a:cs typeface="MetricHPE" charset="0"/>
              </a:rPr>
              <a:t>@HPE_Discover </a:t>
            </a:r>
            <a:r>
              <a:rPr lang="en-US" sz="2400" dirty="0">
                <a:solidFill>
                  <a:prstClr val="white"/>
                </a:solidFill>
                <a:ea typeface="MetricHPE" charset="0"/>
                <a:cs typeface="MetricHPE" charset="0"/>
              </a:rPr>
              <a:t>#</a:t>
            </a:r>
            <a:r>
              <a:rPr lang="en-US" sz="2400" dirty="0" err="1">
                <a:solidFill>
                  <a:prstClr val="white"/>
                </a:solidFill>
                <a:ea typeface="MetricHPE" charset="0"/>
                <a:cs typeface="MetricHPE" charset="0"/>
              </a:rPr>
              <a:t>HPEDiscover</a:t>
            </a:r>
            <a:endParaRPr lang="en-US" sz="2400" dirty="0">
              <a:solidFill>
                <a:prstClr val="white"/>
              </a:solidFill>
              <a:ea typeface="MetricHPE" charset="0"/>
              <a:cs typeface="MetricHPE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="" xmlns:a16="http://schemas.microsoft.com/office/drawing/2014/main" id="{DA3D83C8-3D0A-4291-9AE3-6E72D39EB50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4820" y="685800"/>
            <a:ext cx="6174581" cy="1828800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57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ith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ltGray">
          <a:xfrm>
            <a:off x="0" y="381000"/>
            <a:ext cx="6972300" cy="3200400"/>
          </a:xfrm>
          <a:prstGeom prst="rect">
            <a:avLst/>
          </a:prstGeom>
          <a:solidFill>
            <a:srgbClr val="425563">
              <a:alpha val="8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defRPr/>
            </a:pPr>
            <a:endParaRPr lang="en-US" sz="675" kern="0" err="1">
              <a:solidFill>
                <a:sysClr val="windowText" lastClr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454818" y="3035752"/>
            <a:ext cx="4231483" cy="54565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solidFill>
                  <a:prstClr val="white"/>
                </a:solidFill>
                <a:ea typeface="MetricHPE" charset="0"/>
                <a:cs typeface="MetricHPE" charset="0"/>
              </a:rPr>
              <a:t>@HPE_Discover </a:t>
            </a:r>
            <a:r>
              <a:rPr lang="en-US" sz="2400" dirty="0">
                <a:solidFill>
                  <a:prstClr val="white"/>
                </a:solidFill>
                <a:ea typeface="MetricHPE" charset="0"/>
                <a:cs typeface="MetricHPE" charset="0"/>
              </a:rPr>
              <a:t>#</a:t>
            </a:r>
            <a:r>
              <a:rPr lang="en-US" sz="2400" dirty="0" err="1">
                <a:solidFill>
                  <a:prstClr val="white"/>
                </a:solidFill>
                <a:ea typeface="MetricHPE" charset="0"/>
                <a:cs typeface="MetricHPE" charset="0"/>
              </a:rPr>
              <a:t>HPEDiscover</a:t>
            </a:r>
            <a:endParaRPr lang="en-US" sz="2400" dirty="0">
              <a:solidFill>
                <a:prstClr val="white"/>
              </a:solidFill>
              <a:ea typeface="MetricHPE" charset="0"/>
              <a:cs typeface="MetricHPE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="" xmlns:a16="http://schemas.microsoft.com/office/drawing/2014/main" id="{B1A0A425-9256-4A92-BA1E-29F612DFC8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4820" y="685800"/>
            <a:ext cx="6174581" cy="1828800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5418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473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32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9" y="457000"/>
            <a:ext cx="2270363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9547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609600"/>
            <a:ext cx="6171008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2545616"/>
            <a:ext cx="6171008" cy="60842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83F748-9EA0-4A56-BE03-76523F22B68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00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608806"/>
            <a:ext cx="8228528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990602"/>
            <a:ext cx="6171008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600885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20DCD-E21B-49CE-A065-72E7D6D1F58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994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52E44-0E0D-4C80-A830-CF3FB7DE7F3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139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6EB57-2312-452D-9203-0E8177EE19D4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183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61C4DE-F3BE-40AE-85C9-32EE58CCE500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HPE Confidential – Embargoed until November 27th, 2018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1254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60B869-1A15-4379-8B6A-5CAE4F85501B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HPE Confidential – Embargoed until November 27th, 2018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162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46888" indent="-246888">
              <a:lnSpc>
                <a:spcPct val="80000"/>
              </a:lnSpc>
              <a:defRPr sz="4500"/>
            </a:lvl1pPr>
          </a:lstStyle>
          <a:p>
            <a:r>
              <a:rPr dirty="0"/>
              <a:t>“Click to add quote here. Type quotation marks before and after text.”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AF5EF-C94C-420B-87AB-C734AE4919A5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21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46888" indent="-288036">
              <a:lnSpc>
                <a:spcPct val="80000"/>
              </a:lnSpc>
              <a:defRPr sz="4500"/>
            </a:lvl1pPr>
          </a:lstStyle>
          <a:p>
            <a:r>
              <a:rPr dirty="0"/>
              <a:t>“Click to add quote here. Type quotation marks before and after text.”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6012" y="6248401"/>
            <a:ext cx="727103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5E3546-35DE-4AA3-954F-99C8202E2B0E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HPE Confidential – Embargoed until November 27th, 2018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785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B921C-5EDB-4904-AF3A-18DCB7F12EF5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021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798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3"/>
            <a:ext cx="8227338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492492-A089-4CF5-BACD-D0FBD04F9A13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01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152400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8155"/>
            <a:ext cx="8227338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AC960C-BCBB-498A-8318-F19521FB343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8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58C53-2B90-4BDB-B6E5-158C80CD159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92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4EED8-6C74-4CE3-AADE-107052F03B5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25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A9F50D-E994-40A0-9C4F-A06DB6F7D85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438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F2C54-3CA3-4D8C-9AAC-247DD6D5A6F5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40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2983D-1C15-4D00-8F34-9B4A7860032E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25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8DED6-031F-43B9-8C1B-A5D4966D6FA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75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06032E-7C64-4612-B219-040B36FE0BB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7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521CC9-3D9F-45EE-B48F-5421BD5772A7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47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0061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CD668-B746-4026-9196-49DBEC29CF9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72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5886450" cy="4572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524000"/>
            <a:ext cx="2226588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34B64C-D641-49B6-B57E-08355AC67D5E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88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1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287A7C-EF88-4A94-9FE2-79AC56547F57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29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5015896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56F93325-0CB7-4307-99C7-865CDA83CBB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48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 mit Bild">
    <p:bg bwMode="ltGray"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  <a:prstGeom prst="rect">
            <a:avLst/>
          </a:prstGeo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de-DE"/>
              <a:t>Mastertitelformat bearbeiten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10" name="Gruppierung 9"/>
          <p:cNvGrpSpPr/>
          <p:nvPr userDrawn="1"/>
        </p:nvGrpSpPr>
        <p:grpSpPr>
          <a:xfrm>
            <a:off x="283369" y="380800"/>
            <a:ext cx="1373983" cy="762203"/>
            <a:chOff x="606423" y="456997"/>
            <a:chExt cx="3027151" cy="1219403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606423" y="456997"/>
              <a:ext cx="1036709" cy="287889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606423" y="931922"/>
              <a:ext cx="3027151" cy="744478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0924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2202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9" y="457000"/>
            <a:ext cx="2270363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68501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4939696"/>
            <a:ext cx="6856214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5791200"/>
            <a:ext cx="6856214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3" y="457203"/>
            <a:ext cx="2735158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94330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609600"/>
            <a:ext cx="6171008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2545616"/>
            <a:ext cx="6171008" cy="60842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215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608806"/>
            <a:ext cx="8228528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990602"/>
            <a:ext cx="6171008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600885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07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5886450" cy="4572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524000"/>
            <a:ext cx="2226588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475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882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8390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5462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4050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87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6012" y="6248401"/>
            <a:ext cx="727103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7050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– do not forward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73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3"/>
            <a:ext cx="8227338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– do not forward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701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152400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8155"/>
            <a:ext cx="8227338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– do not forward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574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17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524000"/>
            <a:ext cx="3083838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3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90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88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65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662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867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23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841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56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5886450" cy="4572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524000"/>
            <a:ext cx="2226588" cy="4572000"/>
          </a:xfrm>
          <a:solidFill>
            <a:schemeClr val="accent6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3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524000"/>
            <a:ext cx="3083838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816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524000"/>
            <a:ext cx="3083838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944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524000"/>
            <a:ext cx="3083838" cy="45720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47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3943350" cy="852364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819400"/>
            <a:ext cx="27432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1" y="519236"/>
            <a:ext cx="41147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467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953000"/>
            <a:ext cx="3984498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4953000"/>
            <a:ext cx="3984498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286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26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5015896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25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591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65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1" y="519236"/>
            <a:ext cx="914399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19238"/>
            <a:ext cx="725805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354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92163" y="188154"/>
            <a:ext cx="7285076" cy="731076"/>
          </a:xfrm>
        </p:spPr>
        <p:txBody>
          <a:bodyPr>
            <a:noAutofit/>
          </a:bodyPr>
          <a:lstStyle>
            <a:lvl1pPr>
              <a:defRPr sz="2399">
                <a:solidFill>
                  <a:schemeClr val="bg2"/>
                </a:solidFill>
                <a:latin typeface="Raleway ExtraBold"/>
                <a:cs typeface="Raleway ExtraBold"/>
              </a:defRPr>
            </a:lvl1pPr>
            <a:lvl2pPr>
              <a:defRPr sz="2812">
                <a:solidFill>
                  <a:schemeClr val="accent2"/>
                </a:solidFill>
                <a:latin typeface="Lato Black"/>
                <a:cs typeface="Lato Black"/>
              </a:defRPr>
            </a:lvl2pPr>
            <a:lvl3pPr>
              <a:defRPr sz="2812">
                <a:solidFill>
                  <a:schemeClr val="accent2"/>
                </a:solidFill>
                <a:latin typeface="Lato Black"/>
                <a:cs typeface="Lato Black"/>
              </a:defRPr>
            </a:lvl3pPr>
            <a:lvl4pPr>
              <a:defRPr sz="2812">
                <a:solidFill>
                  <a:schemeClr val="accent2"/>
                </a:solidFill>
                <a:latin typeface="Lato Black"/>
                <a:cs typeface="Lato Black"/>
              </a:defRPr>
            </a:lvl4pPr>
            <a:lvl5pPr>
              <a:defRPr sz="2812">
                <a:solidFill>
                  <a:schemeClr val="accent2"/>
                </a:solidFill>
                <a:latin typeface="Lato Black"/>
                <a:cs typeface="Lato Black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792164" y="685802"/>
            <a:ext cx="7285039" cy="389467"/>
          </a:xfrm>
        </p:spPr>
        <p:txBody>
          <a:bodyPr>
            <a:noAutofit/>
          </a:bodyPr>
          <a:lstStyle>
            <a:lvl1pPr>
              <a:defRPr sz="1087">
                <a:solidFill>
                  <a:schemeClr val="bg1">
                    <a:lumMod val="75000"/>
                  </a:schemeClr>
                </a:solidFill>
                <a:latin typeface="Raleway Light"/>
                <a:cs typeface="Raleway Light"/>
              </a:defRPr>
            </a:lvl1pPr>
            <a:lvl2pPr>
              <a:defRPr>
                <a:latin typeface="Lato Light"/>
                <a:cs typeface="Lato Light"/>
              </a:defRPr>
            </a:lvl2pPr>
            <a:lvl3pPr>
              <a:defRPr>
                <a:latin typeface="Lato Light"/>
                <a:cs typeface="Lato Light"/>
              </a:defRPr>
            </a:lvl3pPr>
            <a:lvl4pPr>
              <a:defRPr>
                <a:latin typeface="Lato Light"/>
                <a:cs typeface="Lato Light"/>
              </a:defRPr>
            </a:lvl4pPr>
            <a:lvl5pPr>
              <a:defRPr>
                <a:latin typeface="Lato Light"/>
                <a:cs typeface="Lato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736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9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3943350" cy="852364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819400"/>
            <a:ext cx="27432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1" y="519236"/>
            <a:ext cx="41147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840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aphical Section Hea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6858000" cy="1828800"/>
          </a:xfrm>
        </p:spPr>
        <p:txBody>
          <a:bodyPr anchor="t"/>
          <a:lstStyle>
            <a:lvl1pPr algn="l">
              <a:defRPr sz="3300" b="1" cap="none" spc="-75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1098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ac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1051723"/>
            <a:ext cx="9144000" cy="3629819"/>
          </a:xfrm>
        </p:spPr>
        <p:txBody>
          <a:bodyPr>
            <a:norm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542606" y="4"/>
            <a:ext cx="1871433" cy="13291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277" tIns="17138" rIns="34277" bIns="1713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675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3706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953000"/>
            <a:ext cx="3984498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4953000"/>
            <a:ext cx="3984498" cy="1143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26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4267200"/>
            <a:ext cx="2571750" cy="1828800"/>
          </a:xfrm>
          <a:solidFill>
            <a:schemeClr val="accent1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52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4939696"/>
            <a:ext cx="6856214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5791200"/>
            <a:ext cx="6856214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3" y="457203"/>
            <a:ext cx="2735158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4769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5015896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06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1425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74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1" y="519236"/>
            <a:ext cx="914399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19238"/>
            <a:ext cx="725805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948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313418"/>
            <a:ext cx="8460105" cy="290849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584964"/>
            <a:ext cx="4030662" cy="42930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581152"/>
            <a:ext cx="3878264" cy="4296832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1001854"/>
            <a:ext cx="8460105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51610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313419"/>
            <a:ext cx="8117206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584960"/>
            <a:ext cx="8117904" cy="4293024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784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206876" y="6503347"/>
            <a:ext cx="744538" cy="365125"/>
          </a:xfrm>
          <a:prstGeom prst="rect">
            <a:avLst/>
          </a:prstGeom>
        </p:spPr>
        <p:txBody>
          <a:bodyPr/>
          <a:lstStyle/>
          <a:p>
            <a:fld id="{68B429F8-1E8B-094C-8322-204051DF40B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" y="3539"/>
            <a:ext cx="9143999" cy="1079499"/>
          </a:xfrm>
          <a:prstGeom prst="rect">
            <a:avLst/>
          </a:prstGeom>
        </p:spPr>
        <p:txBody>
          <a:bodyPr vert="horz" lIns="365760" tIns="228600" rIns="365760" bIns="0"/>
          <a:lstStyle>
            <a:lvl1pPr algn="l">
              <a:lnSpc>
                <a:spcPct val="90000"/>
              </a:lnSpc>
              <a:defRPr sz="2400" b="1">
                <a:solidFill>
                  <a:srgbClr val="002B46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90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 b="1">
                <a:latin typeface="+mj-lt"/>
              </a:defRPr>
            </a:lvl1pPr>
          </a:lstStyle>
          <a:p>
            <a:r>
              <a:rPr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/>
              <a:t>Click to edit Master subtitle sty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57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/>
              <a:t>Click to edit Master subtitle sty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9" y="457000"/>
            <a:ext cx="2270363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607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4939696"/>
            <a:ext cx="6856214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5791200"/>
            <a:ext cx="6856214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3" y="457203"/>
            <a:ext cx="2735158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762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609600"/>
            <a:ext cx="6171008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2545616"/>
            <a:ext cx="6171008" cy="60842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939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609600"/>
            <a:ext cx="6171008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2545616"/>
            <a:ext cx="6171008" cy="60842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4495-4BF5-4727-99D4-DFD1D059735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558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608806"/>
            <a:ext cx="8228528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990602"/>
            <a:ext cx="6171008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600885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90477-F864-462B-BF44-00D67B14D85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73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E08157-2DC9-4745-A7A9-7046A858370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251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7D378-E709-4062-9715-39E79557A063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232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C5E14-300D-4720-B5FE-54C7D96D4160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461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BE07D-E945-4DDF-8452-20009392BF2F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159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A54ACD-BEB7-4258-A5F3-653792456C0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642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6012" y="6248401"/>
            <a:ext cx="727103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9C1EB-F401-4F7B-BD9C-AAA165C9F3D7}" type="datetime4">
              <a:rPr lang="en-US" smtClean="0">
                <a:solidFill>
                  <a:prstClr val="white"/>
                </a:solidFill>
              </a:rPr>
              <a:pPr/>
              <a:t>April 12,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Private | Confidential | Internal Use Only 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679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1CC87-9C4B-4D13-B529-5EAF641302E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23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3"/>
            <a:ext cx="8227338" cy="4571999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A413A-E630-4377-B30C-3545E98CC867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82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608806"/>
            <a:ext cx="8228528" cy="54864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990602"/>
            <a:ext cx="6171008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600885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79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152400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8155"/>
            <a:ext cx="8227338" cy="4117847"/>
          </a:xfrm>
        </p:spPr>
        <p:txBody>
          <a:bodyPr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3DC54-2A66-493A-80B5-8303FBA5D0A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92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45FFC-9EEF-4E69-85F5-C8F54747804D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8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 dirty="0"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4E3265-88A3-4C30-AE11-BFDF645909E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86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F763D2-AF56-4C60-80C7-7D8FC051005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18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039DC-98B3-47E6-AD46-BA5B72AD8B4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09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8AA38D-5CBD-4E44-A2EB-B3F38A5B805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22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30E74-B79E-47A7-AA1C-BA3D00CC0B4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589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DD7F1-9FB6-4CB9-BA1F-25B205B879F3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874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D5831-B468-414C-94B5-F04EB43FC0AE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86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A18C6-3F10-4266-96C9-5D014F3025B2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23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8459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5886450" cy="4572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524000"/>
            <a:ext cx="2226588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dirty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B1722-4B46-4353-B583-721651D61489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69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524000"/>
            <a:ext cx="3083838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8B1958-F972-48E2-B30C-3D9C71EE7ED1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373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524000"/>
            <a:ext cx="3083838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F142-9C82-4C83-9B6A-8077B879C1B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66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3943350" cy="852364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819400"/>
            <a:ext cx="27432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1" y="519236"/>
            <a:ext cx="41147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59EE5-F25B-4563-AE58-6B042DD986DA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3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953000"/>
            <a:ext cx="3984498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4953000"/>
            <a:ext cx="3984498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CAB0D1-A256-4DFA-8583-35D5EE4CD0DF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910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BCA58-86AD-4F40-BF66-913A1183EE47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062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5015896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/>
              <a:t>Click to edit Master text sty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B395617-A7D9-4AE8-82B6-3D0A191CDCBE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279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/>
              <a:t>Click to edit Master subtitle styl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1115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6BA28-E443-46F5-AE73-D543F89EF748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36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1" y="519236"/>
            <a:ext cx="914399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19238"/>
            <a:ext cx="7258050" cy="5576765"/>
          </a:xfrm>
        </p:spPr>
        <p:txBody>
          <a:bodyPr vert="eaVert"/>
          <a:lstStyle/>
          <a:p>
            <a:pPr lvl="0"/>
            <a:r>
              <a:rPr/>
              <a:t>Click to edit Master text styles</a:t>
            </a:r>
          </a:p>
          <a:p>
            <a:pPr lvl="1"/>
            <a:r>
              <a:rPr/>
              <a:t>Second level</a:t>
            </a:r>
          </a:p>
          <a:p>
            <a:pPr lvl="2"/>
            <a:r>
              <a:rPr/>
              <a:t>Third level</a:t>
            </a:r>
          </a:p>
          <a:p>
            <a:pPr lvl="3"/>
            <a:r>
              <a:rPr/>
              <a:t>Fourth level</a:t>
            </a:r>
          </a:p>
          <a:p>
            <a:pPr lvl="4"/>
            <a:r>
              <a:rPr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2EE1A-1BE0-474E-808D-00D5A7797660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#›</a:t>
            </a:fld>
            <a:endParaRPr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631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>
              <a:solidFill>
                <a:srgbClr val="617D78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4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676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10" name="TextBox 9"/>
          <p:cNvSpPr txBox="1"/>
          <p:nvPr userDrawn="1"/>
        </p:nvSpPr>
        <p:spPr>
          <a:xfrm>
            <a:off x="454817" y="6488236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 smtClean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 smtClean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047213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Dark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100652"/>
            <a:ext cx="6172200" cy="2014151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7" name="Group 6"/>
          <p:cNvGrpSpPr/>
          <p:nvPr/>
        </p:nvGrpSpPr>
        <p:grpSpPr bwMode="black">
          <a:xfrm>
            <a:off x="454819" y="457000"/>
            <a:ext cx="2270363" cy="1219403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3233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out Pictur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100649"/>
            <a:ext cx="6515100" cy="2014150"/>
          </a:xfrm>
        </p:spPr>
        <p:txBody>
          <a:bodyPr anchor="b"/>
          <a:lstStyle>
            <a:lvl1pPr>
              <a:lnSpc>
                <a:spcPct val="80000"/>
              </a:lnSpc>
              <a:defRPr sz="405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5151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8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2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454819" y="457000"/>
            <a:ext cx="2270363" cy="1219403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454817" y="6488236"/>
            <a:ext cx="2415726" cy="1038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900"/>
              </a:spcBef>
              <a:buFont typeface="Arial" panose="020B0604020202020204" pitchFamily="34" charset="0"/>
              <a:buNone/>
              <a:defRPr/>
            </a:pPr>
            <a:r>
              <a:rPr lang="en-US" sz="675" dirty="0" smtClean="0">
                <a:solidFill>
                  <a:prstClr val="black"/>
                </a:solidFill>
                <a:sym typeface="Symbol"/>
              </a:rPr>
              <a:t> </a:t>
            </a:r>
            <a:r>
              <a:rPr lang="en-US" sz="675" dirty="0" smtClean="0">
                <a:solidFill>
                  <a:prstClr val="black"/>
                </a:solidFill>
              </a:rPr>
              <a:t>Copyright 2016 Hewlett Packard Enterprise Development LP</a:t>
            </a:r>
          </a:p>
        </p:txBody>
      </p:sp>
    </p:spTree>
    <p:extLst>
      <p:ext uri="{BB962C8B-B14F-4D97-AF65-F5344CB8AC3E}">
        <p14:creationId xmlns:p14="http://schemas.microsoft.com/office/powerpoint/2010/main" val="2958579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609600"/>
            <a:ext cx="6171008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2545616"/>
            <a:ext cx="6171008" cy="60842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0E6ED-C7AE-431A-AF1E-651CF04674E2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10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608806"/>
            <a:ext cx="8228528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990602"/>
            <a:ext cx="7544990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600885"/>
            <a:ext cx="7544990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C4219C-7D17-4043-967E-E394A71E5E6F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02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8230790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3149201"/>
            <a:ext cx="8230790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057739-940C-4491-A675-139EC74EBE31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1852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8230790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3149201"/>
            <a:ext cx="8230790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F88EB-134E-4DDD-8096-D3A945F41BDE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910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8230790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3149201"/>
            <a:ext cx="8230790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5F3D1A-6826-4B84-8872-18CF446D7405}" type="datetime3">
              <a:rPr lang="en-US" smtClean="0">
                <a:solidFill>
                  <a:prstClr val="white"/>
                </a:solidFill>
              </a:rPr>
              <a:pPr/>
              <a:t>12 April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HPE Confidential -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707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8230790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3149201"/>
            <a:ext cx="8230790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19E77-9052-45DE-98ED-2C133747D52D}" type="datetime3">
              <a:rPr lang="en-US" smtClean="0">
                <a:solidFill>
                  <a:prstClr val="white"/>
                </a:solidFill>
              </a:rPr>
              <a:pPr/>
              <a:t>12 April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HPE Confidential -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0083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3065153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 smtClean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6CA7B-8986-4BBC-9630-26423D9CE182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762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541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1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90000"/>
              </a:lnSpc>
              <a:defRPr sz="4050"/>
            </a:lvl1pPr>
          </a:lstStyle>
          <a:p>
            <a:r>
              <a:rPr lang="en-US" dirty="0" smtClean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40" y="306324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 smtClean="0"/>
              <a:t>Click to add quoted person’s name, title, company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456012" y="6248401"/>
            <a:ext cx="727103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CE131-E155-48EB-9D7C-1480F5BAA86D}" type="datetime3">
              <a:rPr lang="en-US" smtClean="0">
                <a:solidFill>
                  <a:prstClr val="white"/>
                </a:solidFill>
              </a:rPr>
              <a:pPr/>
              <a:t>12 April 2019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white"/>
                </a:solidFill>
              </a:rPr>
              <a:t>HPE Confidential - For Training Purposes Only</a:t>
            </a:r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726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0DF3FC-5E7F-4878-BBD6-19BDC9258614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471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3"/>
            <a:ext cx="8227338" cy="457199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102F-69E6-42F4-AFF4-808BC495598F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6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2" y="152400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8155"/>
            <a:ext cx="8227338" cy="41178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90B56C-346F-468B-8420-4909367DB3DC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4192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ACF4ED-A5B6-4B5E-9BBF-9D9FAF018806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924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79EA6-14DC-42AE-A3FD-CAD5D3C4E92C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59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866748-4743-42DF-82D4-AA8130061CC4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974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524000"/>
            <a:ext cx="3977640" cy="4572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524000"/>
            <a:ext cx="3977640" cy="4572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243F6-B2BD-480B-91EE-903CC07FA882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2847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76D1AE-F22E-4E1E-B958-CDA574903412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14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6552"/>
            <a:ext cx="3977640" cy="418944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6552"/>
            <a:ext cx="3977640" cy="418944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D288EA-8E37-4F02-873F-C4C4D1A0DC31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040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9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2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1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78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524000"/>
            <a:ext cx="2571750" cy="4572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524000"/>
            <a:ext cx="2571750" cy="4572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524000"/>
            <a:ext cx="2571750" cy="4572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4A54C1-B099-4F87-8361-FF08CB4BC6D8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97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1082B-BFFB-4883-B321-C8DC83B3A933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73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2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rPr/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2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/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6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1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/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DBBAAE-B898-4EC7-AD59-8B33039D800D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25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5886450" cy="4572000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524000"/>
            <a:ext cx="2226588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F71F3-971F-4610-B66C-338F60328CFF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320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524000"/>
            <a:ext cx="3083838" cy="457200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B93EBF-FA37-4BC4-8747-D3677541CEA8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04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524000"/>
            <a:ext cx="3083838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D0E286-AC08-4F45-953D-17143CB2C37C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46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3943350" cy="852364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819400"/>
            <a:ext cx="27432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1" y="519236"/>
            <a:ext cx="41147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A2D5B-0C7B-4284-AE2B-99B566189781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295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953000"/>
            <a:ext cx="3984498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4953000"/>
            <a:ext cx="3984498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EE54C-3936-422C-A9CE-2652A9665AA0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62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50916-0EB0-4979-B65D-4E923EEE3455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86752" y="6430871"/>
            <a:ext cx="400049" cy="232147"/>
          </a:xfrm>
          <a:prstGeom prst="rect">
            <a:avLst/>
          </a:prstGeom>
        </p:spPr>
        <p:txBody>
          <a:bodyPr/>
          <a:lstStyle/>
          <a:p>
            <a:fld id="{B016F8AB-BCEA-4347-8BA6-BE776009BC89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51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-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56010" y="2539968"/>
            <a:ext cx="5349240" cy="9144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Q&amp;A</a:t>
            </a:r>
            <a:endParaRPr dirty="0"/>
          </a:p>
        </p:txBody>
      </p:sp>
      <p:sp>
        <p:nvSpPr>
          <p:cNvPr id="7" name="Freeform 6"/>
          <p:cNvSpPr/>
          <p:nvPr userDrawn="1"/>
        </p:nvSpPr>
        <p:spPr>
          <a:xfrm>
            <a:off x="456011" y="466344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6012" y="6248401"/>
            <a:ext cx="727103" cy="390524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endParaRPr sz="1350" kern="0" smtClean="0">
                <a:solidFill>
                  <a:prstClr val="white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>
                <a:defRPr/>
              </a:pPr>
              <a:endParaRPr sz="1350" kern="0" smtClean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469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62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26" Type="http://schemas.openxmlformats.org/officeDocument/2006/relationships/slideLayout" Target="../slideLayouts/slideLayout192.xml"/><Relationship Id="rId39" Type="http://schemas.openxmlformats.org/officeDocument/2006/relationships/theme" Target="../theme/theme11.xml"/><Relationship Id="rId3" Type="http://schemas.openxmlformats.org/officeDocument/2006/relationships/slideLayout" Target="../slideLayouts/slideLayout169.xml"/><Relationship Id="rId21" Type="http://schemas.openxmlformats.org/officeDocument/2006/relationships/slideLayout" Target="../slideLayouts/slideLayout187.xml"/><Relationship Id="rId34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5" Type="http://schemas.openxmlformats.org/officeDocument/2006/relationships/slideLayout" Target="../slideLayouts/slideLayout191.xml"/><Relationship Id="rId33" Type="http://schemas.openxmlformats.org/officeDocument/2006/relationships/slideLayout" Target="../slideLayouts/slideLayout199.xml"/><Relationship Id="rId38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slideLayout" Target="../slideLayouts/slideLayout186.xml"/><Relationship Id="rId29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24" Type="http://schemas.openxmlformats.org/officeDocument/2006/relationships/slideLayout" Target="../slideLayouts/slideLayout190.xml"/><Relationship Id="rId32" Type="http://schemas.openxmlformats.org/officeDocument/2006/relationships/slideLayout" Target="../slideLayouts/slideLayout198.xml"/><Relationship Id="rId37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23" Type="http://schemas.openxmlformats.org/officeDocument/2006/relationships/slideLayout" Target="../slideLayouts/slideLayout189.xml"/><Relationship Id="rId28" Type="http://schemas.openxmlformats.org/officeDocument/2006/relationships/slideLayout" Target="../slideLayouts/slideLayout194.xml"/><Relationship Id="rId36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31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slideLayout" Target="../slideLayouts/slideLayout188.xml"/><Relationship Id="rId27" Type="http://schemas.openxmlformats.org/officeDocument/2006/relationships/slideLayout" Target="../slideLayouts/slideLayout193.xml"/><Relationship Id="rId30" Type="http://schemas.openxmlformats.org/officeDocument/2006/relationships/slideLayout" Target="../slideLayouts/slideLayout196.xml"/><Relationship Id="rId35" Type="http://schemas.openxmlformats.org/officeDocument/2006/relationships/slideLayout" Target="../slideLayouts/slideLayout20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217.xml"/><Relationship Id="rId18" Type="http://schemas.openxmlformats.org/officeDocument/2006/relationships/slideLayout" Target="../slideLayouts/slideLayout222.xml"/><Relationship Id="rId26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207.xml"/><Relationship Id="rId21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17" Type="http://schemas.openxmlformats.org/officeDocument/2006/relationships/slideLayout" Target="../slideLayouts/slideLayout221.xml"/><Relationship Id="rId25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206.xml"/><Relationship Id="rId16" Type="http://schemas.openxmlformats.org/officeDocument/2006/relationships/slideLayout" Target="../slideLayouts/slideLayout220.xml"/><Relationship Id="rId20" Type="http://schemas.openxmlformats.org/officeDocument/2006/relationships/slideLayout" Target="../slideLayouts/slideLayout224.xml"/><Relationship Id="rId29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24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09.xml"/><Relationship Id="rId15" Type="http://schemas.openxmlformats.org/officeDocument/2006/relationships/slideLayout" Target="../slideLayouts/slideLayout219.xml"/><Relationship Id="rId23" Type="http://schemas.openxmlformats.org/officeDocument/2006/relationships/slideLayout" Target="../slideLayouts/slideLayout227.xml"/><Relationship Id="rId28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223.xml"/><Relationship Id="rId31" Type="http://schemas.openxmlformats.org/officeDocument/2006/relationships/theme" Target="../theme/theme12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slideLayout" Target="../slideLayouts/slideLayout218.xml"/><Relationship Id="rId22" Type="http://schemas.openxmlformats.org/officeDocument/2006/relationships/slideLayout" Target="../slideLayouts/slideLayout226.xml"/><Relationship Id="rId27" Type="http://schemas.openxmlformats.org/officeDocument/2006/relationships/slideLayout" Target="../slideLayouts/slideLayout231.xml"/><Relationship Id="rId30" Type="http://schemas.openxmlformats.org/officeDocument/2006/relationships/slideLayout" Target="../slideLayouts/slideLayout23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2.xml"/><Relationship Id="rId13" Type="http://schemas.openxmlformats.org/officeDocument/2006/relationships/slideLayout" Target="../slideLayouts/slideLayout247.xml"/><Relationship Id="rId18" Type="http://schemas.openxmlformats.org/officeDocument/2006/relationships/slideLayout" Target="../slideLayouts/slideLayout252.xml"/><Relationship Id="rId26" Type="http://schemas.openxmlformats.org/officeDocument/2006/relationships/slideLayout" Target="../slideLayouts/slideLayout260.xml"/><Relationship Id="rId3" Type="http://schemas.openxmlformats.org/officeDocument/2006/relationships/slideLayout" Target="../slideLayouts/slideLayout237.xml"/><Relationship Id="rId21" Type="http://schemas.openxmlformats.org/officeDocument/2006/relationships/slideLayout" Target="../slideLayouts/slideLayout255.xml"/><Relationship Id="rId34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41.xml"/><Relationship Id="rId12" Type="http://schemas.openxmlformats.org/officeDocument/2006/relationships/slideLayout" Target="../slideLayouts/slideLayout246.xml"/><Relationship Id="rId17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9.xml"/><Relationship Id="rId33" Type="http://schemas.openxmlformats.org/officeDocument/2006/relationships/slideLayout" Target="../slideLayouts/slideLayout267.xml"/><Relationship Id="rId38" Type="http://schemas.openxmlformats.org/officeDocument/2006/relationships/theme" Target="../theme/theme13.xml"/><Relationship Id="rId2" Type="http://schemas.openxmlformats.org/officeDocument/2006/relationships/slideLayout" Target="../slideLayouts/slideLayout236.xml"/><Relationship Id="rId16" Type="http://schemas.openxmlformats.org/officeDocument/2006/relationships/slideLayout" Target="../slideLayouts/slideLayout250.xml"/><Relationship Id="rId20" Type="http://schemas.openxmlformats.org/officeDocument/2006/relationships/slideLayout" Target="../slideLayouts/slideLayout254.xml"/><Relationship Id="rId29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35.xml"/><Relationship Id="rId6" Type="http://schemas.openxmlformats.org/officeDocument/2006/relationships/slideLayout" Target="../slideLayouts/slideLayout240.xml"/><Relationship Id="rId11" Type="http://schemas.openxmlformats.org/officeDocument/2006/relationships/slideLayout" Target="../slideLayouts/slideLayout245.xml"/><Relationship Id="rId24" Type="http://schemas.openxmlformats.org/officeDocument/2006/relationships/slideLayout" Target="../slideLayouts/slideLayout258.xml"/><Relationship Id="rId32" Type="http://schemas.openxmlformats.org/officeDocument/2006/relationships/slideLayout" Target="../slideLayouts/slideLayout266.xml"/><Relationship Id="rId37" Type="http://schemas.openxmlformats.org/officeDocument/2006/relationships/slideLayout" Target="../slideLayouts/slideLayout271.xml"/><Relationship Id="rId5" Type="http://schemas.openxmlformats.org/officeDocument/2006/relationships/slideLayout" Target="../slideLayouts/slideLayout239.xml"/><Relationship Id="rId15" Type="http://schemas.openxmlformats.org/officeDocument/2006/relationships/slideLayout" Target="../slideLayouts/slideLayout249.xml"/><Relationship Id="rId23" Type="http://schemas.openxmlformats.org/officeDocument/2006/relationships/slideLayout" Target="../slideLayouts/slideLayout257.xml"/><Relationship Id="rId28" Type="http://schemas.openxmlformats.org/officeDocument/2006/relationships/slideLayout" Target="../slideLayouts/slideLayout262.xml"/><Relationship Id="rId36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44.xml"/><Relationship Id="rId19" Type="http://schemas.openxmlformats.org/officeDocument/2006/relationships/slideLayout" Target="../slideLayouts/slideLayout253.xml"/><Relationship Id="rId31" Type="http://schemas.openxmlformats.org/officeDocument/2006/relationships/slideLayout" Target="../slideLayouts/slideLayout265.xml"/><Relationship Id="rId4" Type="http://schemas.openxmlformats.org/officeDocument/2006/relationships/slideLayout" Target="../slideLayouts/slideLayout238.xml"/><Relationship Id="rId9" Type="http://schemas.openxmlformats.org/officeDocument/2006/relationships/slideLayout" Target="../slideLayouts/slideLayout243.xml"/><Relationship Id="rId14" Type="http://schemas.openxmlformats.org/officeDocument/2006/relationships/slideLayout" Target="../slideLayouts/slideLayout248.xml"/><Relationship Id="rId22" Type="http://schemas.openxmlformats.org/officeDocument/2006/relationships/slideLayout" Target="../slideLayouts/slideLayout256.xml"/><Relationship Id="rId27" Type="http://schemas.openxmlformats.org/officeDocument/2006/relationships/slideLayout" Target="../slideLayouts/slideLayout261.xml"/><Relationship Id="rId30" Type="http://schemas.openxmlformats.org/officeDocument/2006/relationships/slideLayout" Target="../slideLayouts/slideLayout264.xml"/><Relationship Id="rId35" Type="http://schemas.openxmlformats.org/officeDocument/2006/relationships/slideLayout" Target="../slideLayouts/slideLayout26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34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slideLayout" Target="../slideLayouts/slideLayout101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slideLayout" Target="../slideLayouts/slideLayout10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2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3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8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6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54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3486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6" r:id="rId34"/>
    <p:sldLayoutId id="2147483701" r:id="rId35"/>
    <p:sldLayoutId id="2147483703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9635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3180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  <p:sldLayoutId id="2147483900" r:id="rId8"/>
    <p:sldLayoutId id="2147483901" r:id="rId9"/>
    <p:sldLayoutId id="2147483902" r:id="rId10"/>
    <p:sldLayoutId id="2147483903" r:id="rId11"/>
    <p:sldLayoutId id="2147483904" r:id="rId12"/>
    <p:sldLayoutId id="2147483905" r:id="rId13"/>
    <p:sldLayoutId id="2147483906" r:id="rId14"/>
    <p:sldLayoutId id="2147483907" r:id="rId15"/>
    <p:sldLayoutId id="2147483908" r:id="rId16"/>
    <p:sldLayoutId id="2147483909" r:id="rId17"/>
    <p:sldLayoutId id="2147483910" r:id="rId18"/>
    <p:sldLayoutId id="2147483911" r:id="rId19"/>
    <p:sldLayoutId id="2147483912" r:id="rId20"/>
    <p:sldLayoutId id="2147483913" r:id="rId21"/>
    <p:sldLayoutId id="2147483914" r:id="rId22"/>
    <p:sldLayoutId id="2147483915" r:id="rId23"/>
    <p:sldLayoutId id="2147483916" r:id="rId24"/>
    <p:sldLayoutId id="2147483917" r:id="rId25"/>
    <p:sldLayoutId id="2147483918" r:id="rId26"/>
    <p:sldLayoutId id="2147483919" r:id="rId27"/>
    <p:sldLayoutId id="2147483920" r:id="rId28"/>
    <p:sldLayoutId id="2147483921" r:id="rId29"/>
    <p:sldLayoutId id="2147483922" r:id="rId30"/>
    <p:sldLayoutId id="2147483923" r:id="rId31"/>
    <p:sldLayoutId id="2147483924" r:id="rId32"/>
    <p:sldLayoutId id="2147483925" r:id="rId33"/>
    <p:sldLayoutId id="2147483926" r:id="rId34"/>
    <p:sldLayoutId id="2147483927" r:id="rId35"/>
    <p:sldLayoutId id="2147483928" r:id="rId36"/>
    <p:sldLayoutId id="2147484002" r:id="rId37"/>
    <p:sldLayoutId id="2147484003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807DC4A-EAF2-43A0-8BD3-331609B3DBC6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HPE Confidential – Embargoed until November 27th, 2018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6698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  <p:sldLayoutId id="2147483947" r:id="rId15"/>
    <p:sldLayoutId id="2147483948" r:id="rId16"/>
    <p:sldLayoutId id="2147483949" r:id="rId17"/>
    <p:sldLayoutId id="2147483950" r:id="rId18"/>
    <p:sldLayoutId id="2147483951" r:id="rId19"/>
    <p:sldLayoutId id="2147483952" r:id="rId20"/>
    <p:sldLayoutId id="2147483953" r:id="rId21"/>
    <p:sldLayoutId id="2147483954" r:id="rId22"/>
    <p:sldLayoutId id="2147483955" r:id="rId23"/>
    <p:sldLayoutId id="2147483956" r:id="rId24"/>
    <p:sldLayoutId id="2147483957" r:id="rId25"/>
    <p:sldLayoutId id="2147483958" r:id="rId26"/>
    <p:sldLayoutId id="2147483959" r:id="rId27"/>
    <p:sldLayoutId id="2147483960" r:id="rId28"/>
    <p:sldLayoutId id="2147483961" r:id="rId29"/>
    <p:sldLayoutId id="2147483962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B016F8AB-BCEA-4347-8BA6-BE776009BC89}" type="slidenum">
              <a:rPr>
                <a:solidFill>
                  <a:srgbClr val="617D78"/>
                </a:solidFill>
              </a:rPr>
              <a:pPr/>
              <a:t>‹#›</a:t>
            </a:fld>
            <a:endParaRPr dirty="0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0317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  <p:sldLayoutId id="2147483975" r:id="rId12"/>
    <p:sldLayoutId id="2147483976" r:id="rId13"/>
    <p:sldLayoutId id="2147483977" r:id="rId14"/>
    <p:sldLayoutId id="2147483978" r:id="rId15"/>
    <p:sldLayoutId id="2147483979" r:id="rId16"/>
    <p:sldLayoutId id="2147483980" r:id="rId17"/>
    <p:sldLayoutId id="2147483981" r:id="rId18"/>
    <p:sldLayoutId id="2147483982" r:id="rId19"/>
    <p:sldLayoutId id="2147483983" r:id="rId20"/>
    <p:sldLayoutId id="2147483984" r:id="rId21"/>
    <p:sldLayoutId id="2147483985" r:id="rId22"/>
    <p:sldLayoutId id="2147483986" r:id="rId23"/>
    <p:sldLayoutId id="2147483987" r:id="rId24"/>
    <p:sldLayoutId id="2147483988" r:id="rId25"/>
    <p:sldLayoutId id="2147483989" r:id="rId26"/>
    <p:sldLayoutId id="2147483990" r:id="rId27"/>
    <p:sldLayoutId id="2147483991" r:id="rId28"/>
    <p:sldLayoutId id="2147483992" r:id="rId29"/>
    <p:sldLayoutId id="2147483993" r:id="rId30"/>
    <p:sldLayoutId id="2147483994" r:id="rId31"/>
    <p:sldLayoutId id="2147483995" r:id="rId32"/>
    <p:sldLayoutId id="2147483996" r:id="rId33"/>
    <p:sldLayoutId id="2147483997" r:id="rId34"/>
    <p:sldLayoutId id="2147483998" r:id="rId35"/>
    <p:sldLayoutId id="2147483999" r:id="rId36"/>
    <p:sldLayoutId id="2147484000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dirty="0"/>
              <a:t>Click to e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7892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456009" y="530470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34709A18-0AEE-4D6D-B93B-2B76E3BCC584}" type="datetime3">
              <a:rPr lang="en-US" smtClean="0">
                <a:solidFill>
                  <a:prstClr val="black"/>
                </a:solidFill>
              </a:rPr>
              <a:pPr/>
              <a:t>12 April 2019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07468" y="6428232"/>
            <a:ext cx="1412081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prstClr val="black"/>
                </a:solidFill>
              </a:rPr>
              <a:t>HPE Confidential - For Training Purposes Only</a:t>
            </a:r>
            <a:endParaRPr dirty="0">
              <a:solidFill>
                <a:prstClr val="black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99896" y="6327913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650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  <p:sldLayoutId id="2147483774" r:id="rId29"/>
    <p:sldLayoutId id="2147483775" r:id="rId30"/>
    <p:sldLayoutId id="2147483776" r:id="rId31"/>
    <p:sldLayoutId id="2147483777" r:id="rId32"/>
    <p:sldLayoutId id="2147483778" r:id="rId33"/>
    <p:sldLayoutId id="2147483779" r:id="rId34"/>
    <p:sldLayoutId id="2147483780" r:id="rId35"/>
    <p:sldLayoutId id="2147483781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10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3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4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0B388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>
              <a:lnSpc>
                <a:spcPct val="90000"/>
              </a:lnSpc>
            </a:pPr>
            <a:endParaRPr sz="3224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pPr defTabSz="816316"/>
            <a:fld id="{3D9E0381-F65D-4266-9E78-B218B691EF64}" type="datetime4">
              <a:rPr lang="en-US" smtClean="0">
                <a:solidFill>
                  <a:prstClr val="black"/>
                </a:solidFill>
              </a:rPr>
              <a:pPr defTabSz="816316"/>
              <a:t>April 12, 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pPr defTabSz="816316"/>
            <a:r>
              <a:rPr lang="en-US" smtClean="0">
                <a:solidFill>
                  <a:prstClr val="black"/>
                </a:solidFill>
              </a:rPr>
              <a:t>Private | Confidential | Internal Use Only 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2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pPr defTabSz="816316"/>
            <a:fld id="{B016F8AB-BCEA-4347-8BA6-BE776009BC89}" type="slidenum">
              <a:rPr lang="en-US" smtClean="0">
                <a:solidFill>
                  <a:srgbClr val="617D78"/>
                </a:solidFill>
              </a:rPr>
              <a:pPr defTabSz="816316"/>
              <a:t>‹#›</a:t>
            </a:fld>
            <a:endParaRPr lang="en-US">
              <a:solidFill>
                <a:srgbClr val="617D78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 defTabSz="816316"/>
              <a:endParaRPr sz="3224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7670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83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685663" rtl="0" eaLnBrk="1" latinLnBrk="0" hangingPunct="1">
        <a:lnSpc>
          <a:spcPct val="90000"/>
        </a:lnSpc>
        <a:spcBef>
          <a:spcPct val="0"/>
        </a:spcBef>
        <a:buNone/>
        <a:defRPr sz="209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32" indent="-137132" algn="l" defTabSz="685663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549" indent="-137132" algn="l" defTabSz="685663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398" indent="-102850" algn="l" defTabSz="685663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531" indent="-102850" algn="l" defTabSz="685663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380" indent="-102850" algn="l" defTabSz="685663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513" indent="-102850" algn="l" defTabSz="685663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362" indent="-102850" algn="l" defTabSz="685663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495" indent="-102850" algn="l" defTabSz="685663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627" indent="-102850" algn="l" defTabSz="685663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32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63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95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26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57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88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820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651" algn="l" defTabSz="68566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endParaRPr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endParaRPr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366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1" r:id="rId11"/>
    <p:sldLayoutId id="214748381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5"/>
          <p:cNvSpPr>
            <a:spLocks noChangeAspect="1" noChangeArrowheads="1" noTextEdit="1"/>
          </p:cNvSpPr>
          <p:nvPr/>
        </p:nvSpPr>
        <p:spPr bwMode="auto">
          <a:xfrm>
            <a:off x="2389208" y="4197351"/>
            <a:ext cx="3735387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6" tIns="45693" rIns="91386" bIns="4569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375">
              <a:solidFill>
                <a:srgbClr val="000000"/>
              </a:solidFill>
              <a:ea typeface="ＭＳ Ｐゴシック" charset="-128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36003" y="6469466"/>
            <a:ext cx="399159" cy="267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479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ts val="300"/>
        </a:spcAft>
        <a:defRPr sz="2813" b="1">
          <a:solidFill>
            <a:schemeClr val="bg1"/>
          </a:solidFill>
          <a:latin typeface="Arial"/>
          <a:ea typeface="ＭＳ Ｐゴシック" pitchFamily="34" charset="-128"/>
          <a:cs typeface="Arial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ts val="300"/>
        </a:spcAft>
        <a:defRPr sz="3188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ts val="300"/>
        </a:spcAft>
        <a:defRPr sz="3188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ts val="300"/>
        </a:spcAft>
        <a:defRPr sz="3188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ts val="300"/>
        </a:spcAft>
        <a:defRPr sz="3188" b="1">
          <a:solidFill>
            <a:schemeClr val="tx1"/>
          </a:solidFill>
          <a:latin typeface="Arial" charset="0"/>
          <a:ea typeface="ＭＳ Ｐゴシック" pitchFamily="34" charset="-128"/>
          <a:cs typeface="Arial" charset="0"/>
        </a:defRPr>
      </a:lvl5pPr>
      <a:lvl6pPr marL="456917" algn="l" rtl="0" eaLnBrk="1" fontAlgn="base" hangingPunct="1">
        <a:spcBef>
          <a:spcPct val="0"/>
        </a:spcBef>
        <a:spcAft>
          <a:spcPct val="0"/>
        </a:spcAft>
        <a:defRPr sz="2625" b="1">
          <a:solidFill>
            <a:srgbClr val="F58719"/>
          </a:solidFill>
          <a:latin typeface="Verdana" pitchFamily="34" charset="0"/>
          <a:ea typeface="ＭＳ Ｐゴシック" pitchFamily="34" charset="-128"/>
        </a:defRPr>
      </a:lvl6pPr>
      <a:lvl7pPr marL="913838" algn="l" rtl="0" eaLnBrk="1" fontAlgn="base" hangingPunct="1">
        <a:spcBef>
          <a:spcPct val="0"/>
        </a:spcBef>
        <a:spcAft>
          <a:spcPct val="0"/>
        </a:spcAft>
        <a:defRPr sz="2625" b="1">
          <a:solidFill>
            <a:srgbClr val="F58719"/>
          </a:solidFill>
          <a:latin typeface="Verdana" pitchFamily="34" charset="0"/>
          <a:ea typeface="ＭＳ Ｐゴシック" pitchFamily="34" charset="-128"/>
        </a:defRPr>
      </a:lvl7pPr>
      <a:lvl8pPr marL="1370762" algn="l" rtl="0" eaLnBrk="1" fontAlgn="base" hangingPunct="1">
        <a:spcBef>
          <a:spcPct val="0"/>
        </a:spcBef>
        <a:spcAft>
          <a:spcPct val="0"/>
        </a:spcAft>
        <a:defRPr sz="2625" b="1">
          <a:solidFill>
            <a:srgbClr val="F58719"/>
          </a:solidFill>
          <a:latin typeface="Verdana" pitchFamily="34" charset="0"/>
          <a:ea typeface="ＭＳ Ｐゴシック" pitchFamily="34" charset="-128"/>
        </a:defRPr>
      </a:lvl8pPr>
      <a:lvl9pPr marL="1827680" algn="l" rtl="0" eaLnBrk="1" fontAlgn="base" hangingPunct="1">
        <a:spcBef>
          <a:spcPct val="0"/>
        </a:spcBef>
        <a:spcAft>
          <a:spcPct val="0"/>
        </a:spcAft>
        <a:defRPr sz="2625" b="1">
          <a:solidFill>
            <a:srgbClr val="F58719"/>
          </a:solidFill>
          <a:latin typeface="Verdana" pitchFamily="34" charset="0"/>
          <a:ea typeface="ＭＳ Ｐゴシック" pitchFamily="34" charset="-128"/>
        </a:defRPr>
      </a:lvl9pPr>
    </p:titleStyle>
    <p:bodyStyle>
      <a:lvl1pPr marL="342884" indent="-342884" algn="l" rtl="0" eaLnBrk="1" fontAlgn="base" hangingPunct="1">
        <a:lnSpc>
          <a:spcPct val="95000"/>
        </a:lnSpc>
        <a:spcBef>
          <a:spcPts val="1000"/>
        </a:spcBef>
        <a:spcAft>
          <a:spcPct val="0"/>
        </a:spcAft>
        <a:buClr>
          <a:srgbClr val="FF9933"/>
        </a:buClr>
        <a:defRPr sz="2375" b="1">
          <a:solidFill>
            <a:srgbClr val="1C1C1C"/>
          </a:solidFill>
          <a:latin typeface="Arial" pitchFamily="34" charset="0"/>
          <a:ea typeface="Arial"/>
          <a:cs typeface="Arial" pitchFamily="34" charset="0"/>
        </a:defRPr>
      </a:lvl1pPr>
      <a:lvl2pPr marL="473051" indent="-227001" algn="l" rtl="0" eaLnBrk="1" fontAlgn="base" hangingPunct="1">
        <a:lnSpc>
          <a:spcPct val="95000"/>
        </a:lnSpc>
        <a:spcBef>
          <a:spcPts val="300"/>
        </a:spcBef>
        <a:spcAft>
          <a:spcPct val="0"/>
        </a:spcAft>
        <a:buClr>
          <a:srgbClr val="FF9933"/>
        </a:buClr>
        <a:buFont typeface="Lucida Grande" charset="0"/>
        <a:buChar char="–"/>
        <a:defRPr sz="2000">
          <a:solidFill>
            <a:srgbClr val="595959"/>
          </a:solidFill>
          <a:latin typeface="Arial" pitchFamily="34" charset="0"/>
          <a:ea typeface="Arial"/>
          <a:cs typeface="Arial" pitchFamily="34" charset="0"/>
        </a:defRPr>
      </a:lvl2pPr>
      <a:lvl3pPr marL="703229" indent="-227001" algn="l" rtl="0" eaLnBrk="1" fontAlgn="base" hangingPunct="1">
        <a:lnSpc>
          <a:spcPct val="95000"/>
        </a:lnSpc>
        <a:spcBef>
          <a:spcPts val="300"/>
        </a:spcBef>
        <a:spcAft>
          <a:spcPct val="0"/>
        </a:spcAft>
        <a:buClr>
          <a:srgbClr val="FF9933"/>
        </a:buClr>
        <a:buFont typeface="Times" charset="0"/>
        <a:buChar char="•"/>
        <a:defRPr>
          <a:solidFill>
            <a:srgbClr val="595959"/>
          </a:solidFill>
          <a:latin typeface="Arial" pitchFamily="34" charset="0"/>
          <a:ea typeface="Arial"/>
          <a:cs typeface="Arial" pitchFamily="34" charset="0"/>
        </a:defRPr>
      </a:lvl3pPr>
      <a:lvl4pPr marL="1144531" indent="-169855" algn="l" rtl="0" eaLnBrk="1" fontAlgn="base" hangingPunct="1">
        <a:lnSpc>
          <a:spcPct val="95000"/>
        </a:lnSpc>
        <a:spcBef>
          <a:spcPts val="300"/>
        </a:spcBef>
        <a:spcAft>
          <a:spcPct val="0"/>
        </a:spcAft>
        <a:buClr>
          <a:srgbClr val="FF9933"/>
        </a:buClr>
        <a:buFont typeface="Times" charset="0"/>
        <a:buChar char="•"/>
        <a:defRPr sz="1625">
          <a:solidFill>
            <a:srgbClr val="595959"/>
          </a:solidFill>
          <a:latin typeface="Arial" pitchFamily="34" charset="0"/>
          <a:ea typeface="Arial"/>
          <a:cs typeface="Arial" pitchFamily="34" charset="0"/>
        </a:defRPr>
      </a:lvl4pPr>
      <a:lvl5pPr marL="1369945" indent="-111119" algn="l" rtl="0" eaLnBrk="1" fontAlgn="base" hangingPunct="1">
        <a:lnSpc>
          <a:spcPct val="95000"/>
        </a:lnSpc>
        <a:spcBef>
          <a:spcPts val="300"/>
        </a:spcBef>
        <a:spcAft>
          <a:spcPct val="0"/>
        </a:spcAft>
        <a:buClr>
          <a:srgbClr val="FF9933"/>
        </a:buClr>
        <a:buFont typeface="Times" charset="0"/>
        <a:buChar char="•"/>
        <a:defRPr sz="1625">
          <a:solidFill>
            <a:srgbClr val="595959"/>
          </a:solidFill>
          <a:latin typeface="Arial" pitchFamily="34" charset="0"/>
          <a:ea typeface="Arial"/>
          <a:cs typeface="Arial" pitchFamily="34" charset="0"/>
        </a:defRPr>
      </a:lvl5pPr>
      <a:lvl6pPr marL="2513061" indent="-228458" algn="l" rtl="0" eaLnBrk="1" fontAlgn="base" hangingPunct="1">
        <a:spcBef>
          <a:spcPct val="20000"/>
        </a:spcBef>
        <a:spcAft>
          <a:spcPct val="0"/>
        </a:spcAft>
        <a:buChar char="»"/>
        <a:defRPr sz="2188">
          <a:solidFill>
            <a:schemeClr val="tx1"/>
          </a:solidFill>
          <a:latin typeface="+mn-lt"/>
          <a:ea typeface="+mn-ea"/>
        </a:defRPr>
      </a:lvl6pPr>
      <a:lvl7pPr marL="2969980" indent="-228458" algn="l" rtl="0" eaLnBrk="1" fontAlgn="base" hangingPunct="1">
        <a:spcBef>
          <a:spcPct val="20000"/>
        </a:spcBef>
        <a:spcAft>
          <a:spcPct val="0"/>
        </a:spcAft>
        <a:buChar char="»"/>
        <a:defRPr sz="2188">
          <a:solidFill>
            <a:schemeClr val="tx1"/>
          </a:solidFill>
          <a:latin typeface="+mn-lt"/>
          <a:ea typeface="+mn-ea"/>
        </a:defRPr>
      </a:lvl7pPr>
      <a:lvl8pPr marL="3426902" indent="-228458" algn="l" rtl="0" eaLnBrk="1" fontAlgn="base" hangingPunct="1">
        <a:spcBef>
          <a:spcPct val="20000"/>
        </a:spcBef>
        <a:spcAft>
          <a:spcPct val="0"/>
        </a:spcAft>
        <a:buChar char="»"/>
        <a:defRPr sz="2188">
          <a:solidFill>
            <a:schemeClr val="tx1"/>
          </a:solidFill>
          <a:latin typeface="+mn-lt"/>
          <a:ea typeface="+mn-ea"/>
        </a:defRPr>
      </a:lvl8pPr>
      <a:lvl9pPr marL="3883818" indent="-228458" algn="l" rtl="0" eaLnBrk="1" fontAlgn="base" hangingPunct="1">
        <a:spcBef>
          <a:spcPct val="20000"/>
        </a:spcBef>
        <a:spcAft>
          <a:spcPct val="0"/>
        </a:spcAft>
        <a:buChar char="»"/>
        <a:defRPr sz="2188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1pPr>
      <a:lvl2pPr marL="456917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2pPr>
      <a:lvl3pPr marL="913838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3pPr>
      <a:lvl4pPr marL="1370762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4pPr>
      <a:lvl5pPr marL="1827680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5pPr>
      <a:lvl6pPr marL="2284599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6pPr>
      <a:lvl7pPr marL="2741522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7pPr>
      <a:lvl8pPr marL="3198436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8pPr>
      <a:lvl9pPr marL="3655360" algn="l" defTabSz="913838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631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  <a:latin typeface="MetricHPE" panose="020B0503030202060203" pitchFamily="34" charset="0"/>
              </a:defRPr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Private | Confidential | Internal Use On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  <a:latin typeface="MetricHPE" panose="020B0503030202060203" pitchFamily="34" charset="0"/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0036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MetricHPE" panose="020B0503030202060203" pitchFamily="34" charset="0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MetricHPE" panose="020B0503030202060203" pitchFamily="34" charset="0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2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3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sz="135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60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65FD8143-BFA3-46F8-9B90-B0E5CFAF7F7C}" type="datetime4">
              <a:rPr lang="en-US" smtClean="0">
                <a:solidFill>
                  <a:prstClr val="black"/>
                </a:solidFill>
              </a:rPr>
              <a:pPr/>
              <a:t>April 12, 2019</a:t>
            </a:fld>
            <a:endParaRPr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1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Private | Confidential | Internal Use Only </a:t>
            </a:r>
            <a:endParaRPr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2" y="6430871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#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6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8277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5472" userDrawn="1">
          <p15:clr>
            <a:srgbClr val="F26B43"/>
          </p15:clr>
        </p15:guide>
        <p15:guide id="5" orient="horz" pos="960" userDrawn="1">
          <p15:clr>
            <a:srgbClr val="F26B43"/>
          </p15:clr>
        </p15:guide>
        <p15:guide id="6" orient="horz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emf"/><Relationship Id="rId3" Type="http://schemas.openxmlformats.org/officeDocument/2006/relationships/hyperlink" Target="mailto:skart@hpe.com" TargetMode="External"/><Relationship Id="rId7" Type="http://schemas.openxmlformats.org/officeDocument/2006/relationships/image" Target="../media/image2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6.xml"/><Relationship Id="rId6" Type="http://schemas.openxmlformats.org/officeDocument/2006/relationships/image" Target="../media/image95.jpe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8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8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emf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5" Type="http://schemas.openxmlformats.org/officeDocument/2006/relationships/image" Target="../media/image33.jpeg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6.emf"/><Relationship Id="rId5" Type="http://schemas.openxmlformats.org/officeDocument/2006/relationships/image" Target="../media/image45.emf"/><Relationship Id="rId4" Type="http://schemas.openxmlformats.org/officeDocument/2006/relationships/image" Target="../media/image4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tiff"/><Relationship Id="rId13" Type="http://schemas.openxmlformats.org/officeDocument/2006/relationships/image" Target="../media/image58.png"/><Relationship Id="rId18" Type="http://schemas.openxmlformats.org/officeDocument/2006/relationships/image" Target="../media/image63.png"/><Relationship Id="rId26" Type="http://schemas.openxmlformats.org/officeDocument/2006/relationships/image" Target="../media/image71.png"/><Relationship Id="rId3" Type="http://schemas.openxmlformats.org/officeDocument/2006/relationships/image" Target="../media/image48.png"/><Relationship Id="rId21" Type="http://schemas.openxmlformats.org/officeDocument/2006/relationships/image" Target="../media/image66.png"/><Relationship Id="rId7" Type="http://schemas.openxmlformats.org/officeDocument/2006/relationships/image" Target="../media/image52.tiff"/><Relationship Id="rId12" Type="http://schemas.openxmlformats.org/officeDocument/2006/relationships/image" Target="../media/image57.png"/><Relationship Id="rId17" Type="http://schemas.openxmlformats.org/officeDocument/2006/relationships/image" Target="../media/image62.png"/><Relationship Id="rId25" Type="http://schemas.openxmlformats.org/officeDocument/2006/relationships/image" Target="../media/image70.jpe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20" Type="http://schemas.openxmlformats.org/officeDocument/2006/relationships/image" Target="../media/image65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1.png"/><Relationship Id="rId11" Type="http://schemas.openxmlformats.org/officeDocument/2006/relationships/image" Target="../media/image56.tiff"/><Relationship Id="rId24" Type="http://schemas.openxmlformats.org/officeDocument/2006/relationships/image" Target="../media/image69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23" Type="http://schemas.openxmlformats.org/officeDocument/2006/relationships/image" Target="../media/image68.png"/><Relationship Id="rId28" Type="http://schemas.openxmlformats.org/officeDocument/2006/relationships/image" Target="../media/image73.png"/><Relationship Id="rId10" Type="http://schemas.openxmlformats.org/officeDocument/2006/relationships/image" Target="../media/image55.png"/><Relationship Id="rId19" Type="http://schemas.openxmlformats.org/officeDocument/2006/relationships/image" Target="../media/image64.png"/><Relationship Id="rId4" Type="http://schemas.openxmlformats.org/officeDocument/2006/relationships/image" Target="../media/image49.tiff"/><Relationship Id="rId9" Type="http://schemas.openxmlformats.org/officeDocument/2006/relationships/image" Target="../media/image54.png"/><Relationship Id="rId14" Type="http://schemas.openxmlformats.org/officeDocument/2006/relationships/image" Target="../media/image59.tiff"/><Relationship Id="rId22" Type="http://schemas.openxmlformats.org/officeDocument/2006/relationships/image" Target="../media/image67.png"/><Relationship Id="rId27" Type="http://schemas.openxmlformats.org/officeDocument/2006/relationships/image" Target="../media/image7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emf"/><Relationship Id="rId2" Type="http://schemas.openxmlformats.org/officeDocument/2006/relationships/image" Target="../media/image74.emf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8.png"/><Relationship Id="rId5" Type="http://schemas.openxmlformats.org/officeDocument/2006/relationships/image" Target="../media/image77.emf"/><Relationship Id="rId4" Type="http://schemas.openxmlformats.org/officeDocument/2006/relationships/image" Target="../media/image7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emf"/><Relationship Id="rId13" Type="http://schemas.openxmlformats.org/officeDocument/2006/relationships/image" Target="../media/image87.png"/><Relationship Id="rId3" Type="http://schemas.openxmlformats.org/officeDocument/2006/relationships/image" Target="../media/image80.png"/><Relationship Id="rId7" Type="http://schemas.openxmlformats.org/officeDocument/2006/relationships/image" Target="../media/image83.jpeg"/><Relationship Id="rId12" Type="http://schemas.openxmlformats.org/officeDocument/2006/relationships/image" Target="../media/image86.emf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2.jpeg"/><Relationship Id="rId11" Type="http://schemas.openxmlformats.org/officeDocument/2006/relationships/image" Target="../media/image85.emf"/><Relationship Id="rId5" Type="http://schemas.openxmlformats.org/officeDocument/2006/relationships/image" Target="../media/image81.png"/><Relationship Id="rId10" Type="http://schemas.openxmlformats.org/officeDocument/2006/relationships/image" Target="../media/image45.emf"/><Relationship Id="rId4" Type="http://schemas.openxmlformats.org/officeDocument/2006/relationships/image" Target="../media/image64.png"/><Relationship Id="rId9" Type="http://schemas.openxmlformats.org/officeDocument/2006/relationships/image" Target="../media/image84.emf"/><Relationship Id="rId14" Type="http://schemas.openxmlformats.org/officeDocument/2006/relationships/image" Target="../media/image8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ltGray">
          <a:xfrm>
            <a:off x="1" y="857250"/>
            <a:ext cx="9154298" cy="5143500"/>
          </a:xfrm>
          <a:prstGeom prst="rect">
            <a:avLst/>
          </a:prstGeom>
          <a:solidFill>
            <a:schemeClr val="accent1">
              <a:alpha val="57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</a:pPr>
            <a:r>
              <a:rPr lang="en-US" dirty="0"/>
              <a:t>		</a:t>
            </a:r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	</a:t>
            </a:r>
            <a:endParaRPr lang="en-GB" sz="1350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7250"/>
            <a:ext cx="9154299" cy="5143500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 bwMode="black">
          <a:xfrm>
            <a:off x="455354" y="1200289"/>
            <a:ext cx="2270068" cy="914433"/>
            <a:chOff x="3578225" y="1146175"/>
            <a:chExt cx="5038725" cy="2111375"/>
          </a:xfrm>
          <a:solidFill>
            <a:sysClr val="window" lastClr="FFFFFF"/>
          </a:solidFill>
        </p:grpSpPr>
        <p:sp>
          <p:nvSpPr>
            <p:cNvPr id="10" name="Freeform 5"/>
            <p:cNvSpPr>
              <a:spLocks noEditPoints="1"/>
            </p:cNvSpPr>
            <p:nvPr/>
          </p:nvSpPr>
          <p:spPr bwMode="black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1" tIns="34286" rIns="68571" bIns="3428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sz="3224" kern="0">
                <a:solidFill>
                  <a:prstClr val="white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black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71" tIns="34286" rIns="68571" bIns="34286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sz="3224" kern="0">
                <a:solidFill>
                  <a:prstClr val="white"/>
                </a:solidFill>
              </a:endParaRP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idx="4294967295"/>
          </p:nvPr>
        </p:nvSpPr>
        <p:spPr>
          <a:xfrm>
            <a:off x="383798" y="3028950"/>
            <a:ext cx="8248650" cy="1714500"/>
          </a:xfrm>
        </p:spPr>
        <p:txBody>
          <a:bodyPr/>
          <a:lstStyle/>
          <a:p>
            <a:r>
              <a:rPr lang="ru-RU" sz="3600" dirty="0">
                <a:solidFill>
                  <a:schemeClr val="bg1"/>
                </a:solidFill>
              </a:rPr>
              <a:t>Вычислительные платформы для промышленного Интернета вещей</a:t>
            </a:r>
            <a:endParaRPr lang="en-US" sz="3600" b="0" dirty="0">
              <a:solidFill>
                <a:schemeClr val="bg1"/>
              </a:solidFill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383798" y="5200650"/>
            <a:ext cx="6472615" cy="342900"/>
          </a:xfrm>
        </p:spPr>
        <p:txBody>
          <a:bodyPr/>
          <a:lstStyle/>
          <a:p>
            <a:pPr marL="0" indent="0">
              <a:buNone/>
            </a:pPr>
            <a:r>
              <a:rPr lang="ru-RU" dirty="0">
                <a:solidFill>
                  <a:schemeClr val="bg1"/>
                </a:solidFill>
              </a:rPr>
              <a:t>Сергей Карташев, </a:t>
            </a:r>
            <a:r>
              <a:rPr lang="en-US" dirty="0" smtClean="0">
                <a:solidFill>
                  <a:schemeClr val="bg1"/>
                </a:solidFill>
              </a:rPr>
              <a:t>Solution Architect – Hybrid IT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7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6013" y="2240007"/>
            <a:ext cx="3977640" cy="1482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Импортозамещение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xconn (</a:t>
            </a:r>
            <a:r>
              <a:rPr lang="ru-RU" dirty="0" smtClean="0"/>
              <a:t>Чехия, </a:t>
            </a:r>
            <a:r>
              <a:rPr lang="ru-RU" dirty="0" err="1" smtClean="0"/>
              <a:t>Кутна</a:t>
            </a:r>
            <a:r>
              <a:rPr lang="ru-RU" dirty="0" smtClean="0"/>
              <a:t>-Гора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ru-RU" dirty="0" smtClean="0"/>
              <a:t>Новые Технологии (Россия, Шуя)</a:t>
            </a:r>
            <a:endParaRPr lang="en-US" dirty="0"/>
          </a:p>
        </p:txBody>
      </p:sp>
      <p:pic>
        <p:nvPicPr>
          <p:cNvPr id="12" name="Content Placeholder 11"/>
          <p:cNvPicPr>
            <a:picLocks noGrp="1" noChangeAspect="1"/>
          </p:cNvPicPr>
          <p:nvPr>
            <p:ph sz="quarter" idx="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0204" y="3358306"/>
            <a:ext cx="3580090" cy="2070944"/>
          </a:xfr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10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10" name="Picture 4" descr="C:\Users\SMadina\Documents\My Office Documents\ISS Presentations\Photography\DL380eG8_BezelOn_fron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851" y="2281362"/>
            <a:ext cx="3450891" cy="1184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Content Placeholder 13"/>
          <p:cNvPicPr>
            <a:picLocks noGrp="1" noChangeAspect="1"/>
          </p:cNvPicPr>
          <p:nvPr>
            <p:ph sz="half" idx="2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81" y="3358307"/>
            <a:ext cx="3552348" cy="2070944"/>
          </a:xfrm>
        </p:spPr>
      </p:pic>
    </p:spTree>
    <p:extLst>
      <p:ext uri="{BB962C8B-B14F-4D97-AF65-F5344CB8AC3E}">
        <p14:creationId xmlns:p14="http://schemas.microsoft.com/office/powerpoint/2010/main" val="180403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58041" y="1715220"/>
            <a:ext cx="3364820" cy="838962"/>
          </a:xfrm>
        </p:spPr>
        <p:txBody>
          <a:bodyPr/>
          <a:lstStyle/>
          <a:p>
            <a:r>
              <a:rPr lang="ru-RU" dirty="0"/>
              <a:t>Спасибо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826750" y="2899638"/>
            <a:ext cx="2787597" cy="2164556"/>
          </a:xfrm>
        </p:spPr>
        <p:txBody>
          <a:bodyPr/>
          <a:lstStyle/>
          <a:p>
            <a:r>
              <a:rPr lang="ru-RU" b="1" dirty="0"/>
              <a:t>Сергей </a:t>
            </a:r>
            <a:r>
              <a:rPr lang="ru-RU" b="1" dirty="0" smtClean="0"/>
              <a:t>Карташев</a:t>
            </a:r>
            <a:endParaRPr lang="en-US" b="1" dirty="0" smtClean="0"/>
          </a:p>
          <a:p>
            <a:endParaRPr lang="ru-RU" sz="750" b="1" dirty="0"/>
          </a:p>
          <a:p>
            <a:r>
              <a:rPr lang="en-US" b="1" dirty="0" smtClean="0">
                <a:hlinkClick r:id="rId3"/>
              </a:rPr>
              <a:t>skart@hpe.com</a:t>
            </a:r>
            <a:endParaRPr lang="en-US" b="1" dirty="0" smtClean="0"/>
          </a:p>
          <a:p>
            <a:endParaRPr lang="en-US" sz="750" b="1" dirty="0"/>
          </a:p>
          <a:p>
            <a:r>
              <a:rPr lang="en-US" b="1" dirty="0"/>
              <a:t>+7 910 499 57 </a:t>
            </a:r>
            <a:r>
              <a:rPr lang="en-US" b="1" dirty="0" smtClean="0"/>
              <a:t>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11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453" y="4334322"/>
            <a:ext cx="847598" cy="84759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494" y="4334322"/>
            <a:ext cx="847598" cy="84759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454" y="2810037"/>
            <a:ext cx="3422909" cy="256718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034" y="3759469"/>
            <a:ext cx="157946" cy="29801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368" y="3406999"/>
            <a:ext cx="409511" cy="269595"/>
          </a:xfrm>
          <a:prstGeom prst="rect">
            <a:avLst/>
          </a:prstGeom>
        </p:spPr>
      </p:pic>
      <p:grpSp>
        <p:nvGrpSpPr>
          <p:cNvPr id="30" name="Group 29"/>
          <p:cNvGrpSpPr>
            <a:grpSpLocks noChangeAspect="1"/>
          </p:cNvGrpSpPr>
          <p:nvPr/>
        </p:nvGrpSpPr>
        <p:grpSpPr>
          <a:xfrm>
            <a:off x="4433948" y="2821660"/>
            <a:ext cx="248297" cy="373134"/>
            <a:chOff x="7352703" y="1640919"/>
            <a:chExt cx="571500" cy="858837"/>
          </a:xfrm>
        </p:grpSpPr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7530503" y="1640919"/>
              <a:ext cx="215900" cy="300038"/>
            </a:xfrm>
            <a:custGeom>
              <a:avLst/>
              <a:gdLst>
                <a:gd name="T0" fmla="*/ 99 w 200"/>
                <a:gd name="T1" fmla="*/ 277 h 277"/>
                <a:gd name="T2" fmla="*/ 6 w 200"/>
                <a:gd name="T3" fmla="*/ 185 h 277"/>
                <a:gd name="T4" fmla="*/ 0 w 200"/>
                <a:gd name="T5" fmla="*/ 100 h 277"/>
                <a:gd name="T6" fmla="*/ 100 w 200"/>
                <a:gd name="T7" fmla="*/ 0 h 277"/>
                <a:gd name="T8" fmla="*/ 200 w 200"/>
                <a:gd name="T9" fmla="*/ 100 h 277"/>
                <a:gd name="T10" fmla="*/ 192 w 200"/>
                <a:gd name="T11" fmla="*/ 185 h 277"/>
                <a:gd name="T12" fmla="*/ 99 w 200"/>
                <a:gd name="T13" fmla="*/ 277 h 277"/>
                <a:gd name="T14" fmla="*/ 29 w 200"/>
                <a:gd name="T15" fmla="*/ 99 h 277"/>
                <a:gd name="T16" fmla="*/ 35 w 200"/>
                <a:gd name="T17" fmla="*/ 183 h 277"/>
                <a:gd name="T18" fmla="*/ 99 w 200"/>
                <a:gd name="T19" fmla="*/ 248 h 277"/>
                <a:gd name="T20" fmla="*/ 163 w 200"/>
                <a:gd name="T21" fmla="*/ 182 h 277"/>
                <a:gd name="T22" fmla="*/ 171 w 200"/>
                <a:gd name="T23" fmla="*/ 98 h 277"/>
                <a:gd name="T24" fmla="*/ 100 w 200"/>
                <a:gd name="T25" fmla="*/ 29 h 277"/>
                <a:gd name="T26" fmla="*/ 29 w 200"/>
                <a:gd name="T27" fmla="*/ 9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0" h="277">
                  <a:moveTo>
                    <a:pt x="99" y="277"/>
                  </a:moveTo>
                  <a:cubicBezTo>
                    <a:pt x="50" y="277"/>
                    <a:pt x="11" y="238"/>
                    <a:pt x="6" y="185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44"/>
                    <a:pt x="45" y="0"/>
                    <a:pt x="100" y="0"/>
                  </a:cubicBezTo>
                  <a:cubicBezTo>
                    <a:pt x="155" y="0"/>
                    <a:pt x="200" y="44"/>
                    <a:pt x="200" y="100"/>
                  </a:cubicBezTo>
                  <a:cubicBezTo>
                    <a:pt x="192" y="185"/>
                    <a:pt x="192" y="185"/>
                    <a:pt x="192" y="185"/>
                  </a:cubicBezTo>
                  <a:cubicBezTo>
                    <a:pt x="186" y="240"/>
                    <a:pt x="149" y="277"/>
                    <a:pt x="99" y="277"/>
                  </a:cubicBezTo>
                  <a:close/>
                  <a:moveTo>
                    <a:pt x="29" y="99"/>
                  </a:moveTo>
                  <a:cubicBezTo>
                    <a:pt x="35" y="183"/>
                    <a:pt x="35" y="183"/>
                    <a:pt x="35" y="183"/>
                  </a:cubicBezTo>
                  <a:cubicBezTo>
                    <a:pt x="38" y="215"/>
                    <a:pt x="61" y="248"/>
                    <a:pt x="99" y="248"/>
                  </a:cubicBezTo>
                  <a:cubicBezTo>
                    <a:pt x="134" y="248"/>
                    <a:pt x="159" y="222"/>
                    <a:pt x="163" y="182"/>
                  </a:cubicBezTo>
                  <a:cubicBezTo>
                    <a:pt x="171" y="98"/>
                    <a:pt x="171" y="98"/>
                    <a:pt x="171" y="98"/>
                  </a:cubicBezTo>
                  <a:cubicBezTo>
                    <a:pt x="171" y="61"/>
                    <a:pt x="139" y="29"/>
                    <a:pt x="100" y="29"/>
                  </a:cubicBezTo>
                  <a:cubicBezTo>
                    <a:pt x="61" y="29"/>
                    <a:pt x="29" y="60"/>
                    <a:pt x="29" y="9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7352703" y="2010806"/>
              <a:ext cx="571500" cy="488950"/>
            </a:xfrm>
            <a:custGeom>
              <a:avLst/>
              <a:gdLst>
                <a:gd name="T0" fmla="*/ 530 w 530"/>
                <a:gd name="T1" fmla="*/ 453 h 453"/>
                <a:gd name="T2" fmla="*/ 486 w 530"/>
                <a:gd name="T3" fmla="*/ 453 h 453"/>
                <a:gd name="T4" fmla="*/ 486 w 530"/>
                <a:gd name="T5" fmla="*/ 90 h 453"/>
                <a:gd name="T6" fmla="*/ 346 w 530"/>
                <a:gd name="T7" fmla="*/ 51 h 453"/>
                <a:gd name="T8" fmla="*/ 266 w 530"/>
                <a:gd name="T9" fmla="*/ 95 h 453"/>
                <a:gd name="T10" fmla="*/ 185 w 530"/>
                <a:gd name="T11" fmla="*/ 52 h 453"/>
                <a:gd name="T12" fmla="*/ 43 w 530"/>
                <a:gd name="T13" fmla="*/ 90 h 453"/>
                <a:gd name="T14" fmla="*/ 43 w 530"/>
                <a:gd name="T15" fmla="*/ 453 h 453"/>
                <a:gd name="T16" fmla="*/ 0 w 530"/>
                <a:gd name="T17" fmla="*/ 453 h 453"/>
                <a:gd name="T18" fmla="*/ 0 w 530"/>
                <a:gd name="T19" fmla="*/ 57 h 453"/>
                <a:gd name="T20" fmla="*/ 209 w 530"/>
                <a:gd name="T21" fmla="*/ 0 h 453"/>
                <a:gd name="T22" fmla="*/ 216 w 530"/>
                <a:gd name="T23" fmla="*/ 17 h 453"/>
                <a:gd name="T24" fmla="*/ 266 w 530"/>
                <a:gd name="T25" fmla="*/ 51 h 453"/>
                <a:gd name="T26" fmla="*/ 316 w 530"/>
                <a:gd name="T27" fmla="*/ 17 h 453"/>
                <a:gd name="T28" fmla="*/ 323 w 530"/>
                <a:gd name="T29" fmla="*/ 0 h 453"/>
                <a:gd name="T30" fmla="*/ 530 w 530"/>
                <a:gd name="T31" fmla="*/ 57 h 453"/>
                <a:gd name="T32" fmla="*/ 530 w 530"/>
                <a:gd name="T33" fmla="*/ 453 h 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0" h="453">
                  <a:moveTo>
                    <a:pt x="530" y="453"/>
                  </a:moveTo>
                  <a:cubicBezTo>
                    <a:pt x="486" y="453"/>
                    <a:pt x="486" y="453"/>
                    <a:pt x="486" y="453"/>
                  </a:cubicBezTo>
                  <a:cubicBezTo>
                    <a:pt x="486" y="90"/>
                    <a:pt x="486" y="90"/>
                    <a:pt x="486" y="90"/>
                  </a:cubicBezTo>
                  <a:cubicBezTo>
                    <a:pt x="346" y="51"/>
                    <a:pt x="346" y="51"/>
                    <a:pt x="346" y="51"/>
                  </a:cubicBezTo>
                  <a:cubicBezTo>
                    <a:pt x="328" y="79"/>
                    <a:pt x="298" y="95"/>
                    <a:pt x="266" y="95"/>
                  </a:cubicBezTo>
                  <a:cubicBezTo>
                    <a:pt x="232" y="95"/>
                    <a:pt x="203" y="79"/>
                    <a:pt x="185" y="52"/>
                  </a:cubicBezTo>
                  <a:cubicBezTo>
                    <a:pt x="43" y="90"/>
                    <a:pt x="43" y="90"/>
                    <a:pt x="43" y="90"/>
                  </a:cubicBezTo>
                  <a:cubicBezTo>
                    <a:pt x="43" y="453"/>
                    <a:pt x="43" y="453"/>
                    <a:pt x="43" y="453"/>
                  </a:cubicBezTo>
                  <a:cubicBezTo>
                    <a:pt x="0" y="453"/>
                    <a:pt x="0" y="453"/>
                    <a:pt x="0" y="453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16" y="17"/>
                    <a:pt x="216" y="17"/>
                    <a:pt x="216" y="17"/>
                  </a:cubicBezTo>
                  <a:cubicBezTo>
                    <a:pt x="225" y="39"/>
                    <a:pt x="244" y="51"/>
                    <a:pt x="266" y="51"/>
                  </a:cubicBezTo>
                  <a:cubicBezTo>
                    <a:pt x="287" y="51"/>
                    <a:pt x="306" y="38"/>
                    <a:pt x="316" y="17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530" y="57"/>
                    <a:pt x="530" y="57"/>
                    <a:pt x="530" y="57"/>
                  </a:cubicBezTo>
                  <a:lnTo>
                    <a:pt x="530" y="453"/>
                  </a:lnTo>
                  <a:close/>
                </a:path>
              </a:pathLst>
            </a:custGeom>
            <a:solidFill>
              <a:srgbClr val="2AD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3" name="Rectangle 14"/>
            <p:cNvSpPr>
              <a:spLocks noChangeArrowheads="1"/>
            </p:cNvSpPr>
            <p:nvPr/>
          </p:nvSpPr>
          <p:spPr bwMode="auto">
            <a:xfrm>
              <a:off x="7479703" y="2239406"/>
              <a:ext cx="47625" cy="257175"/>
            </a:xfrm>
            <a:prstGeom prst="rect">
              <a:avLst/>
            </a:prstGeom>
            <a:solidFill>
              <a:srgbClr val="2AD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Rectangle 15"/>
            <p:cNvSpPr>
              <a:spLocks noChangeArrowheads="1"/>
            </p:cNvSpPr>
            <p:nvPr/>
          </p:nvSpPr>
          <p:spPr bwMode="auto">
            <a:xfrm>
              <a:off x="7747990" y="2239406"/>
              <a:ext cx="47625" cy="257175"/>
            </a:xfrm>
            <a:prstGeom prst="rect">
              <a:avLst/>
            </a:prstGeom>
            <a:solidFill>
              <a:srgbClr val="2AD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15297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енд «туманных» вычислений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мартфон (2019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 smtClean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en-US" dirty="0" smtClean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6-8 </a:t>
            </a:r>
            <a:r>
              <a:rPr lang="ru-RU" dirty="0">
                <a:solidFill>
                  <a:prstClr val="black"/>
                </a:solidFill>
              </a:rPr>
              <a:t>ядер</a:t>
            </a: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</a:rPr>
              <a:t>2-8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ru-RU" dirty="0">
                <a:solidFill>
                  <a:prstClr val="black"/>
                </a:solidFill>
              </a:rPr>
              <a:t>ГБ </a:t>
            </a:r>
            <a:r>
              <a:rPr lang="en-US" dirty="0">
                <a:solidFill>
                  <a:prstClr val="black"/>
                </a:solidFill>
              </a:rPr>
              <a:t>DDR3</a:t>
            </a: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</a:rPr>
              <a:t>16-512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ru-RU" dirty="0">
                <a:solidFill>
                  <a:prstClr val="black"/>
                </a:solidFill>
              </a:rPr>
              <a:t>ГБ </a:t>
            </a:r>
            <a:r>
              <a:rPr lang="en-US" dirty="0">
                <a:solidFill>
                  <a:prstClr val="black"/>
                </a:solidFill>
              </a:rPr>
              <a:t>SSD</a:t>
            </a: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</a:rPr>
              <a:t>0,7/0,3 </a:t>
            </a:r>
            <a:r>
              <a:rPr lang="en-US" dirty="0" err="1">
                <a:solidFill>
                  <a:prstClr val="black"/>
                </a:solidFill>
              </a:rPr>
              <a:t>Gbps</a:t>
            </a:r>
            <a:r>
              <a:rPr lang="en-US" dirty="0">
                <a:solidFill>
                  <a:prstClr val="black"/>
                </a:solidFill>
              </a:rPr>
              <a:t> LTE</a:t>
            </a: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dirty="0"/>
              <a:t>160-1</a:t>
            </a:r>
            <a:r>
              <a:rPr lang="ru-RU" dirty="0"/>
              <a:t>90</a:t>
            </a:r>
            <a:r>
              <a:rPr lang="en-US" dirty="0"/>
              <a:t> </a:t>
            </a:r>
            <a:r>
              <a:rPr lang="ru-RU" dirty="0"/>
              <a:t>г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ru-RU" dirty="0" smtClean="0"/>
              <a:t>Сервер (2009)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 smtClean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 smtClean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 smtClean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en-US" dirty="0" smtClean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en-US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endParaRPr lang="ru-RU" dirty="0" smtClean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prstClr val="black"/>
                </a:solidFill>
              </a:rPr>
              <a:t>2-8 </a:t>
            </a:r>
            <a:r>
              <a:rPr lang="ru-RU" dirty="0">
                <a:solidFill>
                  <a:prstClr val="black"/>
                </a:solidFill>
              </a:rPr>
              <a:t>ядер</a:t>
            </a: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</a:rPr>
              <a:t>1-64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ru-RU" dirty="0">
                <a:solidFill>
                  <a:prstClr val="black"/>
                </a:solidFill>
              </a:rPr>
              <a:t>ГБ </a:t>
            </a:r>
            <a:r>
              <a:rPr lang="en-US" dirty="0">
                <a:solidFill>
                  <a:prstClr val="black"/>
                </a:solidFill>
              </a:rPr>
              <a:t>DDR3</a:t>
            </a: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</a:rPr>
              <a:t>1х-8х </a:t>
            </a:r>
            <a:r>
              <a:rPr lang="en-US" dirty="0">
                <a:solidFill>
                  <a:prstClr val="black"/>
                </a:solidFill>
              </a:rPr>
              <a:t>60</a:t>
            </a:r>
            <a:r>
              <a:rPr lang="ru-RU" dirty="0">
                <a:solidFill>
                  <a:prstClr val="black"/>
                </a:solidFill>
              </a:rPr>
              <a:t>-</a:t>
            </a:r>
            <a:r>
              <a:rPr lang="en-US" dirty="0">
                <a:solidFill>
                  <a:prstClr val="black"/>
                </a:solidFill>
              </a:rPr>
              <a:t>12</a:t>
            </a:r>
            <a:r>
              <a:rPr lang="ru-RU" dirty="0">
                <a:solidFill>
                  <a:prstClr val="black"/>
                </a:solidFill>
              </a:rPr>
              <a:t>0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ru-RU" dirty="0">
                <a:solidFill>
                  <a:prstClr val="black"/>
                </a:solidFill>
              </a:rPr>
              <a:t>ГБ </a:t>
            </a:r>
            <a:r>
              <a:rPr lang="en-US" dirty="0">
                <a:solidFill>
                  <a:prstClr val="black"/>
                </a:solidFill>
              </a:rPr>
              <a:t>SSD</a:t>
            </a: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</a:rPr>
              <a:t>2x 1GbE</a:t>
            </a:r>
            <a:endParaRPr lang="ru-RU" dirty="0">
              <a:solidFill>
                <a:prstClr val="black"/>
              </a:solidFill>
            </a:endParaRP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</a:rPr>
              <a:t>20+ кг</a:t>
            </a: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dirty="0">
                <a:solidFill>
                  <a:prstClr val="black"/>
                </a:solidFill>
              </a:rPr>
              <a:t>200+ Вт</a:t>
            </a:r>
          </a:p>
          <a:p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2</a:t>
            </a:fld>
            <a:endParaRPr lang="en-US">
              <a:solidFill>
                <a:srgbClr val="617D78"/>
              </a:solidFill>
            </a:endParaRPr>
          </a:p>
        </p:txBody>
      </p:sp>
      <p:grpSp>
        <p:nvGrpSpPr>
          <p:cNvPr id="37" name="Group 36"/>
          <p:cNvGrpSpPr>
            <a:grpSpLocks noChangeAspect="1"/>
          </p:cNvGrpSpPr>
          <p:nvPr/>
        </p:nvGrpSpPr>
        <p:grpSpPr>
          <a:xfrm>
            <a:off x="5756223" y="2286000"/>
            <a:ext cx="1225733" cy="1158810"/>
            <a:chOff x="6153150" y="760413"/>
            <a:chExt cx="552450" cy="522287"/>
          </a:xfrm>
        </p:grpSpPr>
        <p:sp>
          <p:nvSpPr>
            <p:cNvPr id="38" name="Freeform 92"/>
            <p:cNvSpPr>
              <a:spLocks noEditPoints="1"/>
            </p:cNvSpPr>
            <p:nvPr/>
          </p:nvSpPr>
          <p:spPr bwMode="auto">
            <a:xfrm>
              <a:off x="6153150" y="944563"/>
              <a:ext cx="552450" cy="338137"/>
            </a:xfrm>
            <a:custGeom>
              <a:avLst/>
              <a:gdLst>
                <a:gd name="T0" fmla="*/ 348 w 348"/>
                <a:gd name="T1" fmla="*/ 213 h 213"/>
                <a:gd name="T2" fmla="*/ 0 w 348"/>
                <a:gd name="T3" fmla="*/ 213 h 213"/>
                <a:gd name="T4" fmla="*/ 0 w 348"/>
                <a:gd name="T5" fmla="*/ 116 h 213"/>
                <a:gd name="T6" fmla="*/ 348 w 348"/>
                <a:gd name="T7" fmla="*/ 116 h 213"/>
                <a:gd name="T8" fmla="*/ 348 w 348"/>
                <a:gd name="T9" fmla="*/ 213 h 213"/>
                <a:gd name="T10" fmla="*/ 19 w 348"/>
                <a:gd name="T11" fmla="*/ 193 h 213"/>
                <a:gd name="T12" fmla="*/ 329 w 348"/>
                <a:gd name="T13" fmla="*/ 193 h 213"/>
                <a:gd name="T14" fmla="*/ 329 w 348"/>
                <a:gd name="T15" fmla="*/ 135 h 213"/>
                <a:gd name="T16" fmla="*/ 19 w 348"/>
                <a:gd name="T17" fmla="*/ 135 h 213"/>
                <a:gd name="T18" fmla="*/ 19 w 348"/>
                <a:gd name="T19" fmla="*/ 193 h 213"/>
                <a:gd name="T20" fmla="*/ 309 w 348"/>
                <a:gd name="T21" fmla="*/ 155 h 213"/>
                <a:gd name="T22" fmla="*/ 87 w 348"/>
                <a:gd name="T23" fmla="*/ 155 h 213"/>
                <a:gd name="T24" fmla="*/ 87 w 348"/>
                <a:gd name="T25" fmla="*/ 174 h 213"/>
                <a:gd name="T26" fmla="*/ 309 w 348"/>
                <a:gd name="T27" fmla="*/ 174 h 213"/>
                <a:gd name="T28" fmla="*/ 309 w 348"/>
                <a:gd name="T29" fmla="*/ 155 h 213"/>
                <a:gd name="T30" fmla="*/ 58 w 348"/>
                <a:gd name="T31" fmla="*/ 155 h 213"/>
                <a:gd name="T32" fmla="*/ 39 w 348"/>
                <a:gd name="T33" fmla="*/ 155 h 213"/>
                <a:gd name="T34" fmla="*/ 39 w 348"/>
                <a:gd name="T35" fmla="*/ 174 h 213"/>
                <a:gd name="T36" fmla="*/ 58 w 348"/>
                <a:gd name="T37" fmla="*/ 174 h 213"/>
                <a:gd name="T38" fmla="*/ 58 w 348"/>
                <a:gd name="T39" fmla="*/ 155 h 213"/>
                <a:gd name="T40" fmla="*/ 348 w 348"/>
                <a:gd name="T41" fmla="*/ 97 h 213"/>
                <a:gd name="T42" fmla="*/ 0 w 348"/>
                <a:gd name="T43" fmla="*/ 97 h 213"/>
                <a:gd name="T44" fmla="*/ 0 w 348"/>
                <a:gd name="T45" fmla="*/ 0 h 213"/>
                <a:gd name="T46" fmla="*/ 348 w 348"/>
                <a:gd name="T47" fmla="*/ 0 h 213"/>
                <a:gd name="T48" fmla="*/ 348 w 348"/>
                <a:gd name="T49" fmla="*/ 97 h 213"/>
                <a:gd name="T50" fmla="*/ 19 w 348"/>
                <a:gd name="T51" fmla="*/ 77 h 213"/>
                <a:gd name="T52" fmla="*/ 329 w 348"/>
                <a:gd name="T53" fmla="*/ 77 h 213"/>
                <a:gd name="T54" fmla="*/ 329 w 348"/>
                <a:gd name="T55" fmla="*/ 20 h 213"/>
                <a:gd name="T56" fmla="*/ 19 w 348"/>
                <a:gd name="T57" fmla="*/ 20 h 213"/>
                <a:gd name="T58" fmla="*/ 19 w 348"/>
                <a:gd name="T59" fmla="*/ 77 h 213"/>
                <a:gd name="T60" fmla="*/ 309 w 348"/>
                <a:gd name="T61" fmla="*/ 39 h 213"/>
                <a:gd name="T62" fmla="*/ 87 w 348"/>
                <a:gd name="T63" fmla="*/ 39 h 213"/>
                <a:gd name="T64" fmla="*/ 87 w 348"/>
                <a:gd name="T65" fmla="*/ 58 h 213"/>
                <a:gd name="T66" fmla="*/ 309 w 348"/>
                <a:gd name="T67" fmla="*/ 58 h 213"/>
                <a:gd name="T68" fmla="*/ 309 w 348"/>
                <a:gd name="T69" fmla="*/ 39 h 213"/>
                <a:gd name="T70" fmla="*/ 58 w 348"/>
                <a:gd name="T71" fmla="*/ 39 h 213"/>
                <a:gd name="T72" fmla="*/ 39 w 348"/>
                <a:gd name="T73" fmla="*/ 39 h 213"/>
                <a:gd name="T74" fmla="*/ 39 w 348"/>
                <a:gd name="T75" fmla="*/ 58 h 213"/>
                <a:gd name="T76" fmla="*/ 58 w 348"/>
                <a:gd name="T77" fmla="*/ 58 h 213"/>
                <a:gd name="T78" fmla="*/ 58 w 348"/>
                <a:gd name="T79" fmla="*/ 3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8" h="213">
                  <a:moveTo>
                    <a:pt x="348" y="213"/>
                  </a:moveTo>
                  <a:lnTo>
                    <a:pt x="0" y="213"/>
                  </a:lnTo>
                  <a:lnTo>
                    <a:pt x="0" y="116"/>
                  </a:lnTo>
                  <a:lnTo>
                    <a:pt x="348" y="116"/>
                  </a:lnTo>
                  <a:lnTo>
                    <a:pt x="348" y="213"/>
                  </a:lnTo>
                  <a:close/>
                  <a:moveTo>
                    <a:pt x="19" y="193"/>
                  </a:moveTo>
                  <a:lnTo>
                    <a:pt x="329" y="193"/>
                  </a:lnTo>
                  <a:lnTo>
                    <a:pt x="329" y="135"/>
                  </a:lnTo>
                  <a:lnTo>
                    <a:pt x="19" y="135"/>
                  </a:lnTo>
                  <a:lnTo>
                    <a:pt x="19" y="193"/>
                  </a:lnTo>
                  <a:close/>
                  <a:moveTo>
                    <a:pt x="309" y="155"/>
                  </a:moveTo>
                  <a:lnTo>
                    <a:pt x="87" y="155"/>
                  </a:lnTo>
                  <a:lnTo>
                    <a:pt x="87" y="174"/>
                  </a:lnTo>
                  <a:lnTo>
                    <a:pt x="309" y="174"/>
                  </a:lnTo>
                  <a:lnTo>
                    <a:pt x="309" y="155"/>
                  </a:lnTo>
                  <a:close/>
                  <a:moveTo>
                    <a:pt x="58" y="155"/>
                  </a:moveTo>
                  <a:lnTo>
                    <a:pt x="39" y="155"/>
                  </a:lnTo>
                  <a:lnTo>
                    <a:pt x="39" y="174"/>
                  </a:lnTo>
                  <a:lnTo>
                    <a:pt x="58" y="174"/>
                  </a:lnTo>
                  <a:lnTo>
                    <a:pt x="58" y="155"/>
                  </a:lnTo>
                  <a:close/>
                  <a:moveTo>
                    <a:pt x="348" y="97"/>
                  </a:moveTo>
                  <a:lnTo>
                    <a:pt x="0" y="97"/>
                  </a:lnTo>
                  <a:lnTo>
                    <a:pt x="0" y="0"/>
                  </a:lnTo>
                  <a:lnTo>
                    <a:pt x="348" y="0"/>
                  </a:lnTo>
                  <a:lnTo>
                    <a:pt x="348" y="97"/>
                  </a:lnTo>
                  <a:close/>
                  <a:moveTo>
                    <a:pt x="19" y="77"/>
                  </a:moveTo>
                  <a:lnTo>
                    <a:pt x="329" y="77"/>
                  </a:lnTo>
                  <a:lnTo>
                    <a:pt x="329" y="20"/>
                  </a:lnTo>
                  <a:lnTo>
                    <a:pt x="19" y="20"/>
                  </a:lnTo>
                  <a:lnTo>
                    <a:pt x="19" y="77"/>
                  </a:lnTo>
                  <a:close/>
                  <a:moveTo>
                    <a:pt x="309" y="39"/>
                  </a:moveTo>
                  <a:lnTo>
                    <a:pt x="87" y="39"/>
                  </a:lnTo>
                  <a:lnTo>
                    <a:pt x="87" y="58"/>
                  </a:lnTo>
                  <a:lnTo>
                    <a:pt x="309" y="58"/>
                  </a:lnTo>
                  <a:lnTo>
                    <a:pt x="309" y="39"/>
                  </a:lnTo>
                  <a:close/>
                  <a:moveTo>
                    <a:pt x="58" y="39"/>
                  </a:moveTo>
                  <a:lnTo>
                    <a:pt x="39" y="39"/>
                  </a:lnTo>
                  <a:lnTo>
                    <a:pt x="39" y="58"/>
                  </a:lnTo>
                  <a:lnTo>
                    <a:pt x="58" y="58"/>
                  </a:lnTo>
                  <a:lnTo>
                    <a:pt x="58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9" name="Freeform 93"/>
            <p:cNvSpPr>
              <a:spLocks noEditPoints="1"/>
            </p:cNvSpPr>
            <p:nvPr/>
          </p:nvSpPr>
          <p:spPr bwMode="auto">
            <a:xfrm>
              <a:off x="6153150" y="760413"/>
              <a:ext cx="552450" cy="153987"/>
            </a:xfrm>
            <a:custGeom>
              <a:avLst/>
              <a:gdLst>
                <a:gd name="T0" fmla="*/ 348 w 348"/>
                <a:gd name="T1" fmla="*/ 97 h 97"/>
                <a:gd name="T2" fmla="*/ 0 w 348"/>
                <a:gd name="T3" fmla="*/ 97 h 97"/>
                <a:gd name="T4" fmla="*/ 0 w 348"/>
                <a:gd name="T5" fmla="*/ 0 h 97"/>
                <a:gd name="T6" fmla="*/ 348 w 348"/>
                <a:gd name="T7" fmla="*/ 0 h 97"/>
                <a:gd name="T8" fmla="*/ 348 w 348"/>
                <a:gd name="T9" fmla="*/ 97 h 97"/>
                <a:gd name="T10" fmla="*/ 19 w 348"/>
                <a:gd name="T11" fmla="*/ 78 h 97"/>
                <a:gd name="T12" fmla="*/ 329 w 348"/>
                <a:gd name="T13" fmla="*/ 78 h 97"/>
                <a:gd name="T14" fmla="*/ 329 w 348"/>
                <a:gd name="T15" fmla="*/ 20 h 97"/>
                <a:gd name="T16" fmla="*/ 19 w 348"/>
                <a:gd name="T17" fmla="*/ 20 h 97"/>
                <a:gd name="T18" fmla="*/ 19 w 348"/>
                <a:gd name="T19" fmla="*/ 78 h 97"/>
                <a:gd name="T20" fmla="*/ 309 w 348"/>
                <a:gd name="T21" fmla="*/ 39 h 97"/>
                <a:gd name="T22" fmla="*/ 87 w 348"/>
                <a:gd name="T23" fmla="*/ 39 h 97"/>
                <a:gd name="T24" fmla="*/ 87 w 348"/>
                <a:gd name="T25" fmla="*/ 58 h 97"/>
                <a:gd name="T26" fmla="*/ 309 w 348"/>
                <a:gd name="T27" fmla="*/ 58 h 97"/>
                <a:gd name="T28" fmla="*/ 309 w 348"/>
                <a:gd name="T29" fmla="*/ 39 h 97"/>
                <a:gd name="T30" fmla="*/ 58 w 348"/>
                <a:gd name="T31" fmla="*/ 39 h 97"/>
                <a:gd name="T32" fmla="*/ 39 w 348"/>
                <a:gd name="T33" fmla="*/ 39 h 97"/>
                <a:gd name="T34" fmla="*/ 39 w 348"/>
                <a:gd name="T35" fmla="*/ 58 h 97"/>
                <a:gd name="T36" fmla="*/ 58 w 348"/>
                <a:gd name="T37" fmla="*/ 58 h 97"/>
                <a:gd name="T38" fmla="*/ 58 w 348"/>
                <a:gd name="T39" fmla="*/ 3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8" h="97">
                  <a:moveTo>
                    <a:pt x="348" y="97"/>
                  </a:moveTo>
                  <a:lnTo>
                    <a:pt x="0" y="97"/>
                  </a:lnTo>
                  <a:lnTo>
                    <a:pt x="0" y="0"/>
                  </a:lnTo>
                  <a:lnTo>
                    <a:pt x="348" y="0"/>
                  </a:lnTo>
                  <a:lnTo>
                    <a:pt x="348" y="97"/>
                  </a:lnTo>
                  <a:close/>
                  <a:moveTo>
                    <a:pt x="19" y="78"/>
                  </a:moveTo>
                  <a:lnTo>
                    <a:pt x="329" y="78"/>
                  </a:lnTo>
                  <a:lnTo>
                    <a:pt x="329" y="20"/>
                  </a:lnTo>
                  <a:lnTo>
                    <a:pt x="19" y="20"/>
                  </a:lnTo>
                  <a:lnTo>
                    <a:pt x="19" y="78"/>
                  </a:lnTo>
                  <a:close/>
                  <a:moveTo>
                    <a:pt x="309" y="39"/>
                  </a:moveTo>
                  <a:lnTo>
                    <a:pt x="87" y="39"/>
                  </a:lnTo>
                  <a:lnTo>
                    <a:pt x="87" y="58"/>
                  </a:lnTo>
                  <a:lnTo>
                    <a:pt x="309" y="58"/>
                  </a:lnTo>
                  <a:lnTo>
                    <a:pt x="309" y="39"/>
                  </a:lnTo>
                  <a:close/>
                  <a:moveTo>
                    <a:pt x="58" y="39"/>
                  </a:moveTo>
                  <a:lnTo>
                    <a:pt x="39" y="39"/>
                  </a:lnTo>
                  <a:lnTo>
                    <a:pt x="39" y="58"/>
                  </a:lnTo>
                  <a:lnTo>
                    <a:pt x="58" y="58"/>
                  </a:lnTo>
                  <a:lnTo>
                    <a:pt x="58" y="39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9856" y="2232653"/>
            <a:ext cx="615431" cy="116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95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енд «туманных» вычислений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  <a:r>
              <a:rPr lang="en-US" dirty="0" smtClean="0"/>
              <a:t>          </a:t>
            </a:r>
            <a:r>
              <a:rPr lang="ru-RU" dirty="0" smtClean="0"/>
              <a:t>«Туман» (</a:t>
            </a:r>
            <a:r>
              <a:rPr lang="ru-RU" dirty="0" smtClean="0"/>
              <a:t>202</a:t>
            </a:r>
            <a:r>
              <a:rPr lang="en-US" dirty="0" smtClean="0"/>
              <a:t>2</a:t>
            </a:r>
            <a:r>
              <a:rPr lang="ru-RU" dirty="0" smtClean="0"/>
              <a:t>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pPr algn="ctr"/>
            <a:r>
              <a:rPr lang="ru-RU" dirty="0" smtClean="0"/>
              <a:t>«Облако» (</a:t>
            </a:r>
            <a:r>
              <a:rPr lang="ru-RU" dirty="0" smtClean="0"/>
              <a:t>202</a:t>
            </a:r>
            <a:r>
              <a:rPr lang="en-US" dirty="0" smtClean="0"/>
              <a:t>2</a:t>
            </a:r>
            <a:r>
              <a:rPr lang="ru-RU" dirty="0" smtClean="0"/>
              <a:t>)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3</a:t>
            </a:fld>
            <a:endParaRPr lang="en-US">
              <a:solidFill>
                <a:srgbClr val="617D78"/>
              </a:solidFill>
            </a:endParaRPr>
          </a:p>
        </p:txBody>
      </p:sp>
      <p:grpSp>
        <p:nvGrpSpPr>
          <p:cNvPr id="37" name="Group 36"/>
          <p:cNvGrpSpPr>
            <a:grpSpLocks noChangeAspect="1"/>
          </p:cNvGrpSpPr>
          <p:nvPr/>
        </p:nvGrpSpPr>
        <p:grpSpPr>
          <a:xfrm>
            <a:off x="6082853" y="2516386"/>
            <a:ext cx="1225733" cy="1158810"/>
            <a:chOff x="6153150" y="760413"/>
            <a:chExt cx="552450" cy="522287"/>
          </a:xfrm>
        </p:grpSpPr>
        <p:sp>
          <p:nvSpPr>
            <p:cNvPr id="38" name="Freeform 92"/>
            <p:cNvSpPr>
              <a:spLocks noEditPoints="1"/>
            </p:cNvSpPr>
            <p:nvPr/>
          </p:nvSpPr>
          <p:spPr bwMode="auto">
            <a:xfrm>
              <a:off x="6153150" y="944563"/>
              <a:ext cx="552450" cy="338137"/>
            </a:xfrm>
            <a:custGeom>
              <a:avLst/>
              <a:gdLst>
                <a:gd name="T0" fmla="*/ 348 w 348"/>
                <a:gd name="T1" fmla="*/ 213 h 213"/>
                <a:gd name="T2" fmla="*/ 0 w 348"/>
                <a:gd name="T3" fmla="*/ 213 h 213"/>
                <a:gd name="T4" fmla="*/ 0 w 348"/>
                <a:gd name="T5" fmla="*/ 116 h 213"/>
                <a:gd name="T6" fmla="*/ 348 w 348"/>
                <a:gd name="T7" fmla="*/ 116 h 213"/>
                <a:gd name="T8" fmla="*/ 348 w 348"/>
                <a:gd name="T9" fmla="*/ 213 h 213"/>
                <a:gd name="T10" fmla="*/ 19 w 348"/>
                <a:gd name="T11" fmla="*/ 193 h 213"/>
                <a:gd name="T12" fmla="*/ 329 w 348"/>
                <a:gd name="T13" fmla="*/ 193 h 213"/>
                <a:gd name="T14" fmla="*/ 329 w 348"/>
                <a:gd name="T15" fmla="*/ 135 h 213"/>
                <a:gd name="T16" fmla="*/ 19 w 348"/>
                <a:gd name="T17" fmla="*/ 135 h 213"/>
                <a:gd name="T18" fmla="*/ 19 w 348"/>
                <a:gd name="T19" fmla="*/ 193 h 213"/>
                <a:gd name="T20" fmla="*/ 309 w 348"/>
                <a:gd name="T21" fmla="*/ 155 h 213"/>
                <a:gd name="T22" fmla="*/ 87 w 348"/>
                <a:gd name="T23" fmla="*/ 155 h 213"/>
                <a:gd name="T24" fmla="*/ 87 w 348"/>
                <a:gd name="T25" fmla="*/ 174 h 213"/>
                <a:gd name="T26" fmla="*/ 309 w 348"/>
                <a:gd name="T27" fmla="*/ 174 h 213"/>
                <a:gd name="T28" fmla="*/ 309 w 348"/>
                <a:gd name="T29" fmla="*/ 155 h 213"/>
                <a:gd name="T30" fmla="*/ 58 w 348"/>
                <a:gd name="T31" fmla="*/ 155 h 213"/>
                <a:gd name="T32" fmla="*/ 39 w 348"/>
                <a:gd name="T33" fmla="*/ 155 h 213"/>
                <a:gd name="T34" fmla="*/ 39 w 348"/>
                <a:gd name="T35" fmla="*/ 174 h 213"/>
                <a:gd name="T36" fmla="*/ 58 w 348"/>
                <a:gd name="T37" fmla="*/ 174 h 213"/>
                <a:gd name="T38" fmla="*/ 58 w 348"/>
                <a:gd name="T39" fmla="*/ 155 h 213"/>
                <a:gd name="T40" fmla="*/ 348 w 348"/>
                <a:gd name="T41" fmla="*/ 97 h 213"/>
                <a:gd name="T42" fmla="*/ 0 w 348"/>
                <a:gd name="T43" fmla="*/ 97 h 213"/>
                <a:gd name="T44" fmla="*/ 0 w 348"/>
                <a:gd name="T45" fmla="*/ 0 h 213"/>
                <a:gd name="T46" fmla="*/ 348 w 348"/>
                <a:gd name="T47" fmla="*/ 0 h 213"/>
                <a:gd name="T48" fmla="*/ 348 w 348"/>
                <a:gd name="T49" fmla="*/ 97 h 213"/>
                <a:gd name="T50" fmla="*/ 19 w 348"/>
                <a:gd name="T51" fmla="*/ 77 h 213"/>
                <a:gd name="T52" fmla="*/ 329 w 348"/>
                <a:gd name="T53" fmla="*/ 77 h 213"/>
                <a:gd name="T54" fmla="*/ 329 w 348"/>
                <a:gd name="T55" fmla="*/ 20 h 213"/>
                <a:gd name="T56" fmla="*/ 19 w 348"/>
                <a:gd name="T57" fmla="*/ 20 h 213"/>
                <a:gd name="T58" fmla="*/ 19 w 348"/>
                <a:gd name="T59" fmla="*/ 77 h 213"/>
                <a:gd name="T60" fmla="*/ 309 w 348"/>
                <a:gd name="T61" fmla="*/ 39 h 213"/>
                <a:gd name="T62" fmla="*/ 87 w 348"/>
                <a:gd name="T63" fmla="*/ 39 h 213"/>
                <a:gd name="T64" fmla="*/ 87 w 348"/>
                <a:gd name="T65" fmla="*/ 58 h 213"/>
                <a:gd name="T66" fmla="*/ 309 w 348"/>
                <a:gd name="T67" fmla="*/ 58 h 213"/>
                <a:gd name="T68" fmla="*/ 309 w 348"/>
                <a:gd name="T69" fmla="*/ 39 h 213"/>
                <a:gd name="T70" fmla="*/ 58 w 348"/>
                <a:gd name="T71" fmla="*/ 39 h 213"/>
                <a:gd name="T72" fmla="*/ 39 w 348"/>
                <a:gd name="T73" fmla="*/ 39 h 213"/>
                <a:gd name="T74" fmla="*/ 39 w 348"/>
                <a:gd name="T75" fmla="*/ 58 h 213"/>
                <a:gd name="T76" fmla="*/ 58 w 348"/>
                <a:gd name="T77" fmla="*/ 58 h 213"/>
                <a:gd name="T78" fmla="*/ 58 w 348"/>
                <a:gd name="T79" fmla="*/ 39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8" h="213">
                  <a:moveTo>
                    <a:pt x="348" y="213"/>
                  </a:moveTo>
                  <a:lnTo>
                    <a:pt x="0" y="213"/>
                  </a:lnTo>
                  <a:lnTo>
                    <a:pt x="0" y="116"/>
                  </a:lnTo>
                  <a:lnTo>
                    <a:pt x="348" y="116"/>
                  </a:lnTo>
                  <a:lnTo>
                    <a:pt x="348" y="213"/>
                  </a:lnTo>
                  <a:close/>
                  <a:moveTo>
                    <a:pt x="19" y="193"/>
                  </a:moveTo>
                  <a:lnTo>
                    <a:pt x="329" y="193"/>
                  </a:lnTo>
                  <a:lnTo>
                    <a:pt x="329" y="135"/>
                  </a:lnTo>
                  <a:lnTo>
                    <a:pt x="19" y="135"/>
                  </a:lnTo>
                  <a:lnTo>
                    <a:pt x="19" y="193"/>
                  </a:lnTo>
                  <a:close/>
                  <a:moveTo>
                    <a:pt x="309" y="155"/>
                  </a:moveTo>
                  <a:lnTo>
                    <a:pt x="87" y="155"/>
                  </a:lnTo>
                  <a:lnTo>
                    <a:pt x="87" y="174"/>
                  </a:lnTo>
                  <a:lnTo>
                    <a:pt x="309" y="174"/>
                  </a:lnTo>
                  <a:lnTo>
                    <a:pt x="309" y="155"/>
                  </a:lnTo>
                  <a:close/>
                  <a:moveTo>
                    <a:pt x="58" y="155"/>
                  </a:moveTo>
                  <a:lnTo>
                    <a:pt x="39" y="155"/>
                  </a:lnTo>
                  <a:lnTo>
                    <a:pt x="39" y="174"/>
                  </a:lnTo>
                  <a:lnTo>
                    <a:pt x="58" y="174"/>
                  </a:lnTo>
                  <a:lnTo>
                    <a:pt x="58" y="155"/>
                  </a:lnTo>
                  <a:close/>
                  <a:moveTo>
                    <a:pt x="348" y="97"/>
                  </a:moveTo>
                  <a:lnTo>
                    <a:pt x="0" y="97"/>
                  </a:lnTo>
                  <a:lnTo>
                    <a:pt x="0" y="0"/>
                  </a:lnTo>
                  <a:lnTo>
                    <a:pt x="348" y="0"/>
                  </a:lnTo>
                  <a:lnTo>
                    <a:pt x="348" y="97"/>
                  </a:lnTo>
                  <a:close/>
                  <a:moveTo>
                    <a:pt x="19" y="77"/>
                  </a:moveTo>
                  <a:lnTo>
                    <a:pt x="329" y="77"/>
                  </a:lnTo>
                  <a:lnTo>
                    <a:pt x="329" y="20"/>
                  </a:lnTo>
                  <a:lnTo>
                    <a:pt x="19" y="20"/>
                  </a:lnTo>
                  <a:lnTo>
                    <a:pt x="19" y="77"/>
                  </a:lnTo>
                  <a:close/>
                  <a:moveTo>
                    <a:pt x="309" y="39"/>
                  </a:moveTo>
                  <a:lnTo>
                    <a:pt x="87" y="39"/>
                  </a:lnTo>
                  <a:lnTo>
                    <a:pt x="87" y="58"/>
                  </a:lnTo>
                  <a:lnTo>
                    <a:pt x="309" y="58"/>
                  </a:lnTo>
                  <a:lnTo>
                    <a:pt x="309" y="39"/>
                  </a:lnTo>
                  <a:close/>
                  <a:moveTo>
                    <a:pt x="58" y="39"/>
                  </a:moveTo>
                  <a:lnTo>
                    <a:pt x="39" y="39"/>
                  </a:lnTo>
                  <a:lnTo>
                    <a:pt x="39" y="58"/>
                  </a:lnTo>
                  <a:lnTo>
                    <a:pt x="58" y="58"/>
                  </a:lnTo>
                  <a:lnTo>
                    <a:pt x="58" y="3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39" name="Freeform 93"/>
            <p:cNvSpPr>
              <a:spLocks noEditPoints="1"/>
            </p:cNvSpPr>
            <p:nvPr/>
          </p:nvSpPr>
          <p:spPr bwMode="auto">
            <a:xfrm>
              <a:off x="6153150" y="760413"/>
              <a:ext cx="552450" cy="153987"/>
            </a:xfrm>
            <a:custGeom>
              <a:avLst/>
              <a:gdLst>
                <a:gd name="T0" fmla="*/ 348 w 348"/>
                <a:gd name="T1" fmla="*/ 97 h 97"/>
                <a:gd name="T2" fmla="*/ 0 w 348"/>
                <a:gd name="T3" fmla="*/ 97 h 97"/>
                <a:gd name="T4" fmla="*/ 0 w 348"/>
                <a:gd name="T5" fmla="*/ 0 h 97"/>
                <a:gd name="T6" fmla="*/ 348 w 348"/>
                <a:gd name="T7" fmla="*/ 0 h 97"/>
                <a:gd name="T8" fmla="*/ 348 w 348"/>
                <a:gd name="T9" fmla="*/ 97 h 97"/>
                <a:gd name="T10" fmla="*/ 19 w 348"/>
                <a:gd name="T11" fmla="*/ 78 h 97"/>
                <a:gd name="T12" fmla="*/ 329 w 348"/>
                <a:gd name="T13" fmla="*/ 78 h 97"/>
                <a:gd name="T14" fmla="*/ 329 w 348"/>
                <a:gd name="T15" fmla="*/ 20 h 97"/>
                <a:gd name="T16" fmla="*/ 19 w 348"/>
                <a:gd name="T17" fmla="*/ 20 h 97"/>
                <a:gd name="T18" fmla="*/ 19 w 348"/>
                <a:gd name="T19" fmla="*/ 78 h 97"/>
                <a:gd name="T20" fmla="*/ 309 w 348"/>
                <a:gd name="T21" fmla="*/ 39 h 97"/>
                <a:gd name="T22" fmla="*/ 87 w 348"/>
                <a:gd name="T23" fmla="*/ 39 h 97"/>
                <a:gd name="T24" fmla="*/ 87 w 348"/>
                <a:gd name="T25" fmla="*/ 58 h 97"/>
                <a:gd name="T26" fmla="*/ 309 w 348"/>
                <a:gd name="T27" fmla="*/ 58 h 97"/>
                <a:gd name="T28" fmla="*/ 309 w 348"/>
                <a:gd name="T29" fmla="*/ 39 h 97"/>
                <a:gd name="T30" fmla="*/ 58 w 348"/>
                <a:gd name="T31" fmla="*/ 39 h 97"/>
                <a:gd name="T32" fmla="*/ 39 w 348"/>
                <a:gd name="T33" fmla="*/ 39 h 97"/>
                <a:gd name="T34" fmla="*/ 39 w 348"/>
                <a:gd name="T35" fmla="*/ 58 h 97"/>
                <a:gd name="T36" fmla="*/ 58 w 348"/>
                <a:gd name="T37" fmla="*/ 58 h 97"/>
                <a:gd name="T38" fmla="*/ 58 w 348"/>
                <a:gd name="T39" fmla="*/ 3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48" h="97">
                  <a:moveTo>
                    <a:pt x="348" y="97"/>
                  </a:moveTo>
                  <a:lnTo>
                    <a:pt x="0" y="97"/>
                  </a:lnTo>
                  <a:lnTo>
                    <a:pt x="0" y="0"/>
                  </a:lnTo>
                  <a:lnTo>
                    <a:pt x="348" y="0"/>
                  </a:lnTo>
                  <a:lnTo>
                    <a:pt x="348" y="97"/>
                  </a:lnTo>
                  <a:close/>
                  <a:moveTo>
                    <a:pt x="19" y="78"/>
                  </a:moveTo>
                  <a:lnTo>
                    <a:pt x="329" y="78"/>
                  </a:lnTo>
                  <a:lnTo>
                    <a:pt x="329" y="20"/>
                  </a:lnTo>
                  <a:lnTo>
                    <a:pt x="19" y="20"/>
                  </a:lnTo>
                  <a:lnTo>
                    <a:pt x="19" y="78"/>
                  </a:lnTo>
                  <a:close/>
                  <a:moveTo>
                    <a:pt x="309" y="39"/>
                  </a:moveTo>
                  <a:lnTo>
                    <a:pt x="87" y="39"/>
                  </a:lnTo>
                  <a:lnTo>
                    <a:pt x="87" y="58"/>
                  </a:lnTo>
                  <a:lnTo>
                    <a:pt x="309" y="58"/>
                  </a:lnTo>
                  <a:lnTo>
                    <a:pt x="309" y="39"/>
                  </a:lnTo>
                  <a:close/>
                  <a:moveTo>
                    <a:pt x="58" y="39"/>
                  </a:moveTo>
                  <a:lnTo>
                    <a:pt x="39" y="39"/>
                  </a:lnTo>
                  <a:lnTo>
                    <a:pt x="39" y="58"/>
                  </a:lnTo>
                  <a:lnTo>
                    <a:pt x="58" y="58"/>
                  </a:lnTo>
                  <a:lnTo>
                    <a:pt x="58" y="39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57081" y="3829375"/>
            <a:ext cx="7773590" cy="724190"/>
            <a:chOff x="684213" y="-952500"/>
            <a:chExt cx="10769601" cy="1003300"/>
          </a:xfrm>
        </p:grpSpPr>
        <p:sp>
          <p:nvSpPr>
            <p:cNvPr id="23" name="Freeform 22"/>
            <p:cNvSpPr/>
            <p:nvPr/>
          </p:nvSpPr>
          <p:spPr bwMode="auto">
            <a:xfrm>
              <a:off x="6019801" y="-231775"/>
              <a:ext cx="4794250" cy="282575"/>
            </a:xfrm>
            <a:custGeom>
              <a:avLst/>
              <a:gdLst>
                <a:gd name="T0" fmla="*/ 2931 w 3020"/>
                <a:gd name="T1" fmla="*/ 0 h 178"/>
                <a:gd name="T2" fmla="*/ 2906 w 3020"/>
                <a:gd name="T3" fmla="*/ 25 h 178"/>
                <a:gd name="T4" fmla="*/ 2953 w 3020"/>
                <a:gd name="T5" fmla="*/ 70 h 178"/>
                <a:gd name="T6" fmla="*/ 0 w 3020"/>
                <a:gd name="T7" fmla="*/ 70 h 178"/>
                <a:gd name="T8" fmla="*/ 0 w 3020"/>
                <a:gd name="T9" fmla="*/ 106 h 178"/>
                <a:gd name="T10" fmla="*/ 2953 w 3020"/>
                <a:gd name="T11" fmla="*/ 106 h 178"/>
                <a:gd name="T12" fmla="*/ 2906 w 3020"/>
                <a:gd name="T13" fmla="*/ 153 h 178"/>
                <a:gd name="T14" fmla="*/ 2931 w 3020"/>
                <a:gd name="T15" fmla="*/ 178 h 178"/>
                <a:gd name="T16" fmla="*/ 3020 w 3020"/>
                <a:gd name="T17" fmla="*/ 88 h 178"/>
                <a:gd name="T18" fmla="*/ 2931 w 3020"/>
                <a:gd name="T19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20" h="178">
                  <a:moveTo>
                    <a:pt x="2931" y="0"/>
                  </a:moveTo>
                  <a:lnTo>
                    <a:pt x="2906" y="25"/>
                  </a:lnTo>
                  <a:lnTo>
                    <a:pt x="2953" y="70"/>
                  </a:lnTo>
                  <a:lnTo>
                    <a:pt x="0" y="70"/>
                  </a:lnTo>
                  <a:lnTo>
                    <a:pt x="0" y="106"/>
                  </a:lnTo>
                  <a:lnTo>
                    <a:pt x="2953" y="106"/>
                  </a:lnTo>
                  <a:lnTo>
                    <a:pt x="2906" y="153"/>
                  </a:lnTo>
                  <a:lnTo>
                    <a:pt x="2931" y="178"/>
                  </a:lnTo>
                  <a:lnTo>
                    <a:pt x="3020" y="88"/>
                  </a:lnTo>
                  <a:lnTo>
                    <a:pt x="2931" y="0"/>
                  </a:lnTo>
                  <a:close/>
                </a:path>
              </a:pathLst>
            </a:custGeom>
            <a:solidFill>
              <a:schemeClr val="accent5"/>
            </a:solidFill>
            <a:ln w="9525">
              <a:solidFill>
                <a:srgbClr val="5F7A76"/>
              </a:solidFill>
              <a:rou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4" name="Freeform 23"/>
            <p:cNvSpPr/>
            <p:nvPr/>
          </p:nvSpPr>
          <p:spPr bwMode="auto">
            <a:xfrm>
              <a:off x="684213" y="-841375"/>
              <a:ext cx="5148263" cy="892175"/>
            </a:xfrm>
            <a:custGeom>
              <a:avLst/>
              <a:gdLst>
                <a:gd name="T0" fmla="*/ 3130 w 3243"/>
                <a:gd name="T1" fmla="*/ 409 h 562"/>
                <a:gd name="T2" fmla="*/ 245 w 3243"/>
                <a:gd name="T3" fmla="*/ 454 h 562"/>
                <a:gd name="T4" fmla="*/ 223 w 3243"/>
                <a:gd name="T5" fmla="*/ 454 h 562"/>
                <a:gd name="T6" fmla="*/ 184 w 3243"/>
                <a:gd name="T7" fmla="*/ 447 h 562"/>
                <a:gd name="T8" fmla="*/ 145 w 3243"/>
                <a:gd name="T9" fmla="*/ 429 h 562"/>
                <a:gd name="T10" fmla="*/ 112 w 3243"/>
                <a:gd name="T11" fmla="*/ 407 h 562"/>
                <a:gd name="T12" fmla="*/ 84 w 3243"/>
                <a:gd name="T13" fmla="*/ 378 h 562"/>
                <a:gd name="T14" fmla="*/ 61 w 3243"/>
                <a:gd name="T15" fmla="*/ 345 h 562"/>
                <a:gd name="T16" fmla="*/ 45 w 3243"/>
                <a:gd name="T17" fmla="*/ 308 h 562"/>
                <a:gd name="T18" fmla="*/ 37 w 3243"/>
                <a:gd name="T19" fmla="*/ 267 h 562"/>
                <a:gd name="T20" fmla="*/ 35 w 3243"/>
                <a:gd name="T21" fmla="*/ 245 h 562"/>
                <a:gd name="T22" fmla="*/ 41 w 3243"/>
                <a:gd name="T23" fmla="*/ 204 h 562"/>
                <a:gd name="T24" fmla="*/ 53 w 3243"/>
                <a:gd name="T25" fmla="*/ 165 h 562"/>
                <a:gd name="T26" fmla="*/ 72 w 3243"/>
                <a:gd name="T27" fmla="*/ 130 h 562"/>
                <a:gd name="T28" fmla="*/ 98 w 3243"/>
                <a:gd name="T29" fmla="*/ 98 h 562"/>
                <a:gd name="T30" fmla="*/ 129 w 3243"/>
                <a:gd name="T31" fmla="*/ 73 h 562"/>
                <a:gd name="T32" fmla="*/ 165 w 3243"/>
                <a:gd name="T33" fmla="*/ 53 h 562"/>
                <a:gd name="T34" fmla="*/ 204 w 3243"/>
                <a:gd name="T35" fmla="*/ 42 h 562"/>
                <a:gd name="T36" fmla="*/ 245 w 3243"/>
                <a:gd name="T37" fmla="*/ 36 h 562"/>
                <a:gd name="T38" fmla="*/ 407 w 3243"/>
                <a:gd name="T39" fmla="*/ 0 h 562"/>
                <a:gd name="T40" fmla="*/ 245 w 3243"/>
                <a:gd name="T41" fmla="*/ 0 h 562"/>
                <a:gd name="T42" fmla="*/ 196 w 3243"/>
                <a:gd name="T43" fmla="*/ 6 h 562"/>
                <a:gd name="T44" fmla="*/ 151 w 3243"/>
                <a:gd name="T45" fmla="*/ 20 h 562"/>
                <a:gd name="T46" fmla="*/ 108 w 3243"/>
                <a:gd name="T47" fmla="*/ 43 h 562"/>
                <a:gd name="T48" fmla="*/ 72 w 3243"/>
                <a:gd name="T49" fmla="*/ 73 h 562"/>
                <a:gd name="T50" fmla="*/ 43 w 3243"/>
                <a:gd name="T51" fmla="*/ 108 h 562"/>
                <a:gd name="T52" fmla="*/ 20 w 3243"/>
                <a:gd name="T53" fmla="*/ 151 h 562"/>
                <a:gd name="T54" fmla="*/ 6 w 3243"/>
                <a:gd name="T55" fmla="*/ 196 h 562"/>
                <a:gd name="T56" fmla="*/ 0 w 3243"/>
                <a:gd name="T57" fmla="*/ 245 h 562"/>
                <a:gd name="T58" fmla="*/ 2 w 3243"/>
                <a:gd name="T59" fmla="*/ 270 h 562"/>
                <a:gd name="T60" fmla="*/ 12 w 3243"/>
                <a:gd name="T61" fmla="*/ 317 h 562"/>
                <a:gd name="T62" fmla="*/ 29 w 3243"/>
                <a:gd name="T63" fmla="*/ 362 h 562"/>
                <a:gd name="T64" fmla="*/ 57 w 3243"/>
                <a:gd name="T65" fmla="*/ 402 h 562"/>
                <a:gd name="T66" fmla="*/ 90 w 3243"/>
                <a:gd name="T67" fmla="*/ 435 h 562"/>
                <a:gd name="T68" fmla="*/ 129 w 3243"/>
                <a:gd name="T69" fmla="*/ 460 h 562"/>
                <a:gd name="T70" fmla="*/ 172 w 3243"/>
                <a:gd name="T71" fmla="*/ 480 h 562"/>
                <a:gd name="T72" fmla="*/ 221 w 3243"/>
                <a:gd name="T73" fmla="*/ 490 h 562"/>
                <a:gd name="T74" fmla="*/ 3177 w 3243"/>
                <a:gd name="T75" fmla="*/ 490 h 562"/>
                <a:gd name="T76" fmla="*/ 3155 w 3243"/>
                <a:gd name="T77" fmla="*/ 562 h 562"/>
                <a:gd name="T78" fmla="*/ 3155 w 3243"/>
                <a:gd name="T79" fmla="*/ 384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43" h="562">
                  <a:moveTo>
                    <a:pt x="3155" y="384"/>
                  </a:moveTo>
                  <a:lnTo>
                    <a:pt x="3130" y="409"/>
                  </a:lnTo>
                  <a:lnTo>
                    <a:pt x="3177" y="454"/>
                  </a:lnTo>
                  <a:lnTo>
                    <a:pt x="245" y="454"/>
                  </a:lnTo>
                  <a:lnTo>
                    <a:pt x="245" y="454"/>
                  </a:lnTo>
                  <a:lnTo>
                    <a:pt x="223" y="454"/>
                  </a:lnTo>
                  <a:lnTo>
                    <a:pt x="204" y="450"/>
                  </a:lnTo>
                  <a:lnTo>
                    <a:pt x="184" y="447"/>
                  </a:lnTo>
                  <a:lnTo>
                    <a:pt x="165" y="439"/>
                  </a:lnTo>
                  <a:lnTo>
                    <a:pt x="145" y="429"/>
                  </a:lnTo>
                  <a:lnTo>
                    <a:pt x="129" y="419"/>
                  </a:lnTo>
                  <a:lnTo>
                    <a:pt x="112" y="407"/>
                  </a:lnTo>
                  <a:lnTo>
                    <a:pt x="98" y="394"/>
                  </a:lnTo>
                  <a:lnTo>
                    <a:pt x="84" y="378"/>
                  </a:lnTo>
                  <a:lnTo>
                    <a:pt x="72" y="362"/>
                  </a:lnTo>
                  <a:lnTo>
                    <a:pt x="61" y="345"/>
                  </a:lnTo>
                  <a:lnTo>
                    <a:pt x="53" y="327"/>
                  </a:lnTo>
                  <a:lnTo>
                    <a:pt x="45" y="308"/>
                  </a:lnTo>
                  <a:lnTo>
                    <a:pt x="41" y="288"/>
                  </a:lnTo>
                  <a:lnTo>
                    <a:pt x="37" y="267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7" y="223"/>
                  </a:lnTo>
                  <a:lnTo>
                    <a:pt x="41" y="204"/>
                  </a:lnTo>
                  <a:lnTo>
                    <a:pt x="45" y="184"/>
                  </a:lnTo>
                  <a:lnTo>
                    <a:pt x="53" y="165"/>
                  </a:lnTo>
                  <a:lnTo>
                    <a:pt x="61" y="145"/>
                  </a:lnTo>
                  <a:lnTo>
                    <a:pt x="72" y="130"/>
                  </a:lnTo>
                  <a:lnTo>
                    <a:pt x="84" y="112"/>
                  </a:lnTo>
                  <a:lnTo>
                    <a:pt x="98" y="98"/>
                  </a:lnTo>
                  <a:lnTo>
                    <a:pt x="112" y="85"/>
                  </a:lnTo>
                  <a:lnTo>
                    <a:pt x="129" y="73"/>
                  </a:lnTo>
                  <a:lnTo>
                    <a:pt x="145" y="61"/>
                  </a:lnTo>
                  <a:lnTo>
                    <a:pt x="165" y="53"/>
                  </a:lnTo>
                  <a:lnTo>
                    <a:pt x="184" y="45"/>
                  </a:lnTo>
                  <a:lnTo>
                    <a:pt x="204" y="42"/>
                  </a:lnTo>
                  <a:lnTo>
                    <a:pt x="223" y="38"/>
                  </a:lnTo>
                  <a:lnTo>
                    <a:pt x="245" y="36"/>
                  </a:lnTo>
                  <a:lnTo>
                    <a:pt x="407" y="36"/>
                  </a:lnTo>
                  <a:lnTo>
                    <a:pt x="407" y="0"/>
                  </a:lnTo>
                  <a:lnTo>
                    <a:pt x="245" y="0"/>
                  </a:lnTo>
                  <a:lnTo>
                    <a:pt x="245" y="0"/>
                  </a:lnTo>
                  <a:lnTo>
                    <a:pt x="221" y="2"/>
                  </a:lnTo>
                  <a:lnTo>
                    <a:pt x="196" y="6"/>
                  </a:lnTo>
                  <a:lnTo>
                    <a:pt x="172" y="12"/>
                  </a:lnTo>
                  <a:lnTo>
                    <a:pt x="151" y="20"/>
                  </a:lnTo>
                  <a:lnTo>
                    <a:pt x="129" y="30"/>
                  </a:lnTo>
                  <a:lnTo>
                    <a:pt x="108" y="43"/>
                  </a:lnTo>
                  <a:lnTo>
                    <a:pt x="90" y="57"/>
                  </a:lnTo>
                  <a:lnTo>
                    <a:pt x="72" y="73"/>
                  </a:lnTo>
                  <a:lnTo>
                    <a:pt x="57" y="90"/>
                  </a:lnTo>
                  <a:lnTo>
                    <a:pt x="43" y="108"/>
                  </a:lnTo>
                  <a:lnTo>
                    <a:pt x="29" y="130"/>
                  </a:lnTo>
                  <a:lnTo>
                    <a:pt x="20" y="151"/>
                  </a:lnTo>
                  <a:lnTo>
                    <a:pt x="12" y="173"/>
                  </a:lnTo>
                  <a:lnTo>
                    <a:pt x="6" y="196"/>
                  </a:lnTo>
                  <a:lnTo>
                    <a:pt x="2" y="222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2" y="270"/>
                  </a:lnTo>
                  <a:lnTo>
                    <a:pt x="6" y="294"/>
                  </a:lnTo>
                  <a:lnTo>
                    <a:pt x="12" y="317"/>
                  </a:lnTo>
                  <a:lnTo>
                    <a:pt x="20" y="341"/>
                  </a:lnTo>
                  <a:lnTo>
                    <a:pt x="29" y="362"/>
                  </a:lnTo>
                  <a:lnTo>
                    <a:pt x="43" y="382"/>
                  </a:lnTo>
                  <a:lnTo>
                    <a:pt x="57" y="402"/>
                  </a:lnTo>
                  <a:lnTo>
                    <a:pt x="72" y="419"/>
                  </a:lnTo>
                  <a:lnTo>
                    <a:pt x="90" y="435"/>
                  </a:lnTo>
                  <a:lnTo>
                    <a:pt x="108" y="449"/>
                  </a:lnTo>
                  <a:lnTo>
                    <a:pt x="129" y="460"/>
                  </a:lnTo>
                  <a:lnTo>
                    <a:pt x="151" y="470"/>
                  </a:lnTo>
                  <a:lnTo>
                    <a:pt x="172" y="480"/>
                  </a:lnTo>
                  <a:lnTo>
                    <a:pt x="196" y="486"/>
                  </a:lnTo>
                  <a:lnTo>
                    <a:pt x="221" y="490"/>
                  </a:lnTo>
                  <a:lnTo>
                    <a:pt x="245" y="490"/>
                  </a:lnTo>
                  <a:lnTo>
                    <a:pt x="3177" y="490"/>
                  </a:lnTo>
                  <a:lnTo>
                    <a:pt x="3130" y="537"/>
                  </a:lnTo>
                  <a:lnTo>
                    <a:pt x="3155" y="562"/>
                  </a:lnTo>
                  <a:lnTo>
                    <a:pt x="3243" y="472"/>
                  </a:lnTo>
                  <a:lnTo>
                    <a:pt x="3155" y="384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noFill/>
              <a:rou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1404938" y="-952500"/>
              <a:ext cx="10048876" cy="889000"/>
              <a:chOff x="1404938" y="-952500"/>
              <a:chExt cx="10048876" cy="889000"/>
            </a:xfrm>
          </p:grpSpPr>
          <p:sp>
            <p:nvSpPr>
              <p:cNvPr id="26" name="Rectangle 25"/>
              <p:cNvSpPr>
                <a:spLocks noChangeArrowheads="1"/>
              </p:cNvSpPr>
              <p:nvPr/>
            </p:nvSpPr>
            <p:spPr bwMode="auto">
              <a:xfrm>
                <a:off x="5903913" y="-841375"/>
                <a:ext cx="2030413" cy="57150"/>
              </a:xfrm>
              <a:prstGeom prst="rect">
                <a:avLst/>
              </a:prstGeom>
              <a:solidFill>
                <a:schemeClr val="accent5"/>
              </a:solidFill>
              <a:ln w="9525">
                <a:solidFill>
                  <a:srgbClr val="5F7A76"/>
                </a:solidFill>
                <a:miter lim="800000"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7" name="Freeform 26"/>
              <p:cNvSpPr/>
              <p:nvPr/>
            </p:nvSpPr>
            <p:spPr bwMode="auto">
              <a:xfrm>
                <a:off x="7972426" y="-952500"/>
                <a:ext cx="3481388" cy="889000"/>
              </a:xfrm>
              <a:custGeom>
                <a:avLst/>
                <a:gdLst>
                  <a:gd name="T0" fmla="*/ 68 w 2193"/>
                  <a:gd name="T1" fmla="*/ 70 h 560"/>
                  <a:gd name="T2" fmla="*/ 90 w 2193"/>
                  <a:gd name="T3" fmla="*/ 0 h 560"/>
                  <a:gd name="T4" fmla="*/ 90 w 2193"/>
                  <a:gd name="T5" fmla="*/ 178 h 560"/>
                  <a:gd name="T6" fmla="*/ 68 w 2193"/>
                  <a:gd name="T7" fmla="*/ 106 h 560"/>
                  <a:gd name="T8" fmla="*/ 1948 w 2193"/>
                  <a:gd name="T9" fmla="*/ 106 h 560"/>
                  <a:gd name="T10" fmla="*/ 1989 w 2193"/>
                  <a:gd name="T11" fmla="*/ 112 h 560"/>
                  <a:gd name="T12" fmla="*/ 2028 w 2193"/>
                  <a:gd name="T13" fmla="*/ 123 h 560"/>
                  <a:gd name="T14" fmla="*/ 2064 w 2193"/>
                  <a:gd name="T15" fmla="*/ 143 h 560"/>
                  <a:gd name="T16" fmla="*/ 2095 w 2193"/>
                  <a:gd name="T17" fmla="*/ 168 h 560"/>
                  <a:gd name="T18" fmla="*/ 2121 w 2193"/>
                  <a:gd name="T19" fmla="*/ 200 h 560"/>
                  <a:gd name="T20" fmla="*/ 2140 w 2193"/>
                  <a:gd name="T21" fmla="*/ 235 h 560"/>
                  <a:gd name="T22" fmla="*/ 2152 w 2193"/>
                  <a:gd name="T23" fmla="*/ 274 h 560"/>
                  <a:gd name="T24" fmla="*/ 2158 w 2193"/>
                  <a:gd name="T25" fmla="*/ 315 h 560"/>
                  <a:gd name="T26" fmla="*/ 2156 w 2193"/>
                  <a:gd name="T27" fmla="*/ 337 h 560"/>
                  <a:gd name="T28" fmla="*/ 2148 w 2193"/>
                  <a:gd name="T29" fmla="*/ 378 h 560"/>
                  <a:gd name="T30" fmla="*/ 2132 w 2193"/>
                  <a:gd name="T31" fmla="*/ 415 h 560"/>
                  <a:gd name="T32" fmla="*/ 2109 w 2193"/>
                  <a:gd name="T33" fmla="*/ 448 h 560"/>
                  <a:gd name="T34" fmla="*/ 2081 w 2193"/>
                  <a:gd name="T35" fmla="*/ 477 h 560"/>
                  <a:gd name="T36" fmla="*/ 2048 w 2193"/>
                  <a:gd name="T37" fmla="*/ 499 h 560"/>
                  <a:gd name="T38" fmla="*/ 2009 w 2193"/>
                  <a:gd name="T39" fmla="*/ 517 h 560"/>
                  <a:gd name="T40" fmla="*/ 1970 w 2193"/>
                  <a:gd name="T41" fmla="*/ 524 h 560"/>
                  <a:gd name="T42" fmla="*/ 1825 w 2193"/>
                  <a:gd name="T43" fmla="*/ 524 h 560"/>
                  <a:gd name="T44" fmla="*/ 1948 w 2193"/>
                  <a:gd name="T45" fmla="*/ 560 h 560"/>
                  <a:gd name="T46" fmla="*/ 1972 w 2193"/>
                  <a:gd name="T47" fmla="*/ 560 h 560"/>
                  <a:gd name="T48" fmla="*/ 2021 w 2193"/>
                  <a:gd name="T49" fmla="*/ 550 h 560"/>
                  <a:gd name="T50" fmla="*/ 2064 w 2193"/>
                  <a:gd name="T51" fmla="*/ 530 h 560"/>
                  <a:gd name="T52" fmla="*/ 2103 w 2193"/>
                  <a:gd name="T53" fmla="*/ 505 h 560"/>
                  <a:gd name="T54" fmla="*/ 2136 w 2193"/>
                  <a:gd name="T55" fmla="*/ 472 h 560"/>
                  <a:gd name="T56" fmla="*/ 2164 w 2193"/>
                  <a:gd name="T57" fmla="*/ 432 h 560"/>
                  <a:gd name="T58" fmla="*/ 2181 w 2193"/>
                  <a:gd name="T59" fmla="*/ 387 h 560"/>
                  <a:gd name="T60" fmla="*/ 2191 w 2193"/>
                  <a:gd name="T61" fmla="*/ 340 h 560"/>
                  <a:gd name="T62" fmla="*/ 2193 w 2193"/>
                  <a:gd name="T63" fmla="*/ 315 h 560"/>
                  <a:gd name="T64" fmla="*/ 2187 w 2193"/>
                  <a:gd name="T65" fmla="*/ 266 h 560"/>
                  <a:gd name="T66" fmla="*/ 2173 w 2193"/>
                  <a:gd name="T67" fmla="*/ 221 h 560"/>
                  <a:gd name="T68" fmla="*/ 2150 w 2193"/>
                  <a:gd name="T69" fmla="*/ 178 h 560"/>
                  <a:gd name="T70" fmla="*/ 2121 w 2193"/>
                  <a:gd name="T71" fmla="*/ 143 h 560"/>
                  <a:gd name="T72" fmla="*/ 2085 w 2193"/>
                  <a:gd name="T73" fmla="*/ 113 h 560"/>
                  <a:gd name="T74" fmla="*/ 2042 w 2193"/>
                  <a:gd name="T75" fmla="*/ 90 h 560"/>
                  <a:gd name="T76" fmla="*/ 1997 w 2193"/>
                  <a:gd name="T77" fmla="*/ 76 h 560"/>
                  <a:gd name="T78" fmla="*/ 1948 w 2193"/>
                  <a:gd name="T79" fmla="*/ 7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93" h="560">
                    <a:moveTo>
                      <a:pt x="1948" y="70"/>
                    </a:moveTo>
                    <a:lnTo>
                      <a:pt x="68" y="70"/>
                    </a:lnTo>
                    <a:lnTo>
                      <a:pt x="113" y="25"/>
                    </a:lnTo>
                    <a:lnTo>
                      <a:pt x="90" y="0"/>
                    </a:lnTo>
                    <a:lnTo>
                      <a:pt x="0" y="88"/>
                    </a:lnTo>
                    <a:lnTo>
                      <a:pt x="90" y="178"/>
                    </a:lnTo>
                    <a:lnTo>
                      <a:pt x="113" y="153"/>
                    </a:lnTo>
                    <a:lnTo>
                      <a:pt x="68" y="106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70" y="108"/>
                    </a:lnTo>
                    <a:lnTo>
                      <a:pt x="1989" y="112"/>
                    </a:lnTo>
                    <a:lnTo>
                      <a:pt x="2009" y="115"/>
                    </a:lnTo>
                    <a:lnTo>
                      <a:pt x="2028" y="123"/>
                    </a:lnTo>
                    <a:lnTo>
                      <a:pt x="2048" y="131"/>
                    </a:lnTo>
                    <a:lnTo>
                      <a:pt x="2064" y="143"/>
                    </a:lnTo>
                    <a:lnTo>
                      <a:pt x="2081" y="155"/>
                    </a:lnTo>
                    <a:lnTo>
                      <a:pt x="2095" y="168"/>
                    </a:lnTo>
                    <a:lnTo>
                      <a:pt x="2109" y="182"/>
                    </a:lnTo>
                    <a:lnTo>
                      <a:pt x="2121" y="200"/>
                    </a:lnTo>
                    <a:lnTo>
                      <a:pt x="2132" y="215"/>
                    </a:lnTo>
                    <a:lnTo>
                      <a:pt x="2140" y="235"/>
                    </a:lnTo>
                    <a:lnTo>
                      <a:pt x="2148" y="254"/>
                    </a:lnTo>
                    <a:lnTo>
                      <a:pt x="2152" y="274"/>
                    </a:lnTo>
                    <a:lnTo>
                      <a:pt x="2156" y="293"/>
                    </a:lnTo>
                    <a:lnTo>
                      <a:pt x="2158" y="315"/>
                    </a:lnTo>
                    <a:lnTo>
                      <a:pt x="2158" y="315"/>
                    </a:lnTo>
                    <a:lnTo>
                      <a:pt x="2156" y="337"/>
                    </a:lnTo>
                    <a:lnTo>
                      <a:pt x="2152" y="358"/>
                    </a:lnTo>
                    <a:lnTo>
                      <a:pt x="2148" y="378"/>
                    </a:lnTo>
                    <a:lnTo>
                      <a:pt x="2140" y="397"/>
                    </a:lnTo>
                    <a:lnTo>
                      <a:pt x="2132" y="415"/>
                    </a:lnTo>
                    <a:lnTo>
                      <a:pt x="2121" y="432"/>
                    </a:lnTo>
                    <a:lnTo>
                      <a:pt x="2109" y="448"/>
                    </a:lnTo>
                    <a:lnTo>
                      <a:pt x="2095" y="464"/>
                    </a:lnTo>
                    <a:lnTo>
                      <a:pt x="2081" y="477"/>
                    </a:lnTo>
                    <a:lnTo>
                      <a:pt x="2064" y="489"/>
                    </a:lnTo>
                    <a:lnTo>
                      <a:pt x="2048" y="499"/>
                    </a:lnTo>
                    <a:lnTo>
                      <a:pt x="2028" y="509"/>
                    </a:lnTo>
                    <a:lnTo>
                      <a:pt x="2009" y="517"/>
                    </a:lnTo>
                    <a:lnTo>
                      <a:pt x="1989" y="520"/>
                    </a:lnTo>
                    <a:lnTo>
                      <a:pt x="1970" y="524"/>
                    </a:lnTo>
                    <a:lnTo>
                      <a:pt x="1948" y="524"/>
                    </a:lnTo>
                    <a:lnTo>
                      <a:pt x="1825" y="524"/>
                    </a:lnTo>
                    <a:lnTo>
                      <a:pt x="1825" y="560"/>
                    </a:lnTo>
                    <a:lnTo>
                      <a:pt x="1948" y="560"/>
                    </a:lnTo>
                    <a:lnTo>
                      <a:pt x="1948" y="560"/>
                    </a:lnTo>
                    <a:lnTo>
                      <a:pt x="1972" y="560"/>
                    </a:lnTo>
                    <a:lnTo>
                      <a:pt x="1997" y="556"/>
                    </a:lnTo>
                    <a:lnTo>
                      <a:pt x="2021" y="550"/>
                    </a:lnTo>
                    <a:lnTo>
                      <a:pt x="2042" y="540"/>
                    </a:lnTo>
                    <a:lnTo>
                      <a:pt x="2064" y="530"/>
                    </a:lnTo>
                    <a:lnTo>
                      <a:pt x="2085" y="519"/>
                    </a:lnTo>
                    <a:lnTo>
                      <a:pt x="2103" y="505"/>
                    </a:lnTo>
                    <a:lnTo>
                      <a:pt x="2121" y="489"/>
                    </a:lnTo>
                    <a:lnTo>
                      <a:pt x="2136" y="472"/>
                    </a:lnTo>
                    <a:lnTo>
                      <a:pt x="2150" y="452"/>
                    </a:lnTo>
                    <a:lnTo>
                      <a:pt x="2164" y="432"/>
                    </a:lnTo>
                    <a:lnTo>
                      <a:pt x="2173" y="411"/>
                    </a:lnTo>
                    <a:lnTo>
                      <a:pt x="2181" y="387"/>
                    </a:lnTo>
                    <a:lnTo>
                      <a:pt x="2187" y="364"/>
                    </a:lnTo>
                    <a:lnTo>
                      <a:pt x="2191" y="340"/>
                    </a:lnTo>
                    <a:lnTo>
                      <a:pt x="2193" y="315"/>
                    </a:lnTo>
                    <a:lnTo>
                      <a:pt x="2193" y="315"/>
                    </a:lnTo>
                    <a:lnTo>
                      <a:pt x="2191" y="292"/>
                    </a:lnTo>
                    <a:lnTo>
                      <a:pt x="2187" y="266"/>
                    </a:lnTo>
                    <a:lnTo>
                      <a:pt x="2181" y="243"/>
                    </a:lnTo>
                    <a:lnTo>
                      <a:pt x="2173" y="221"/>
                    </a:lnTo>
                    <a:lnTo>
                      <a:pt x="2164" y="200"/>
                    </a:lnTo>
                    <a:lnTo>
                      <a:pt x="2150" y="178"/>
                    </a:lnTo>
                    <a:lnTo>
                      <a:pt x="2136" y="160"/>
                    </a:lnTo>
                    <a:lnTo>
                      <a:pt x="2121" y="143"/>
                    </a:lnTo>
                    <a:lnTo>
                      <a:pt x="2103" y="127"/>
                    </a:lnTo>
                    <a:lnTo>
                      <a:pt x="2085" y="113"/>
                    </a:lnTo>
                    <a:lnTo>
                      <a:pt x="2064" y="100"/>
                    </a:lnTo>
                    <a:lnTo>
                      <a:pt x="2042" y="90"/>
                    </a:lnTo>
                    <a:lnTo>
                      <a:pt x="2021" y="82"/>
                    </a:lnTo>
                    <a:lnTo>
                      <a:pt x="1997" y="76"/>
                    </a:lnTo>
                    <a:lnTo>
                      <a:pt x="1972" y="72"/>
                    </a:lnTo>
                    <a:lnTo>
                      <a:pt x="1948" y="70"/>
                    </a:lnTo>
                    <a:lnTo>
                      <a:pt x="1948" y="70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solidFill>
                  <a:srgbClr val="5F7A76"/>
                </a:solidFill>
                <a:rou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/>
              </a:p>
            </p:txBody>
          </p:sp>
          <p:sp>
            <p:nvSpPr>
              <p:cNvPr id="28" name="Freeform 27"/>
              <p:cNvSpPr/>
              <p:nvPr/>
            </p:nvSpPr>
            <p:spPr bwMode="ltGray">
              <a:xfrm>
                <a:off x="1404938" y="-952500"/>
                <a:ext cx="4948380" cy="355594"/>
              </a:xfrm>
              <a:custGeom>
                <a:avLst/>
                <a:gdLst>
                  <a:gd name="connsiteX0" fmla="*/ 139700 w 4948380"/>
                  <a:gd name="connsiteY0" fmla="*/ 0 h 355594"/>
                  <a:gd name="connsiteX1" fmla="*/ 180975 w 4948380"/>
                  <a:gd name="connsiteY1" fmla="*/ 39687 h 355594"/>
                  <a:gd name="connsiteX2" fmla="*/ 109538 w 4948380"/>
                  <a:gd name="connsiteY2" fmla="*/ 111125 h 355594"/>
                  <a:gd name="connsiteX3" fmla="*/ 4589463 w 4948380"/>
                  <a:gd name="connsiteY3" fmla="*/ 111125 h 355594"/>
                  <a:gd name="connsiteX4" fmla="*/ 4629150 w 4948380"/>
                  <a:gd name="connsiteY4" fmla="*/ 114300 h 355594"/>
                  <a:gd name="connsiteX5" fmla="*/ 4667250 w 4948380"/>
                  <a:gd name="connsiteY5" fmla="*/ 120650 h 355594"/>
                  <a:gd name="connsiteX6" fmla="*/ 4703763 w 4948380"/>
                  <a:gd name="connsiteY6" fmla="*/ 130175 h 355594"/>
                  <a:gd name="connsiteX7" fmla="*/ 4741863 w 4948380"/>
                  <a:gd name="connsiteY7" fmla="*/ 142875 h 355594"/>
                  <a:gd name="connsiteX8" fmla="*/ 4776788 w 4948380"/>
                  <a:gd name="connsiteY8" fmla="*/ 158750 h 355594"/>
                  <a:gd name="connsiteX9" fmla="*/ 4806950 w 4948380"/>
                  <a:gd name="connsiteY9" fmla="*/ 179387 h 355594"/>
                  <a:gd name="connsiteX10" fmla="*/ 4835525 w 4948380"/>
                  <a:gd name="connsiteY10" fmla="*/ 201612 h 355594"/>
                  <a:gd name="connsiteX11" fmla="*/ 4862513 w 4948380"/>
                  <a:gd name="connsiteY11" fmla="*/ 227012 h 355594"/>
                  <a:gd name="connsiteX12" fmla="*/ 4887913 w 4948380"/>
                  <a:gd name="connsiteY12" fmla="*/ 254000 h 355594"/>
                  <a:gd name="connsiteX13" fmla="*/ 4913313 w 4948380"/>
                  <a:gd name="connsiteY13" fmla="*/ 282575 h 355594"/>
                  <a:gd name="connsiteX14" fmla="*/ 4930775 w 4948380"/>
                  <a:gd name="connsiteY14" fmla="*/ 317500 h 355594"/>
                  <a:gd name="connsiteX15" fmla="*/ 4946650 w 4948380"/>
                  <a:gd name="connsiteY15" fmla="*/ 350837 h 355594"/>
                  <a:gd name="connsiteX16" fmla="*/ 4948380 w 4948380"/>
                  <a:gd name="connsiteY16" fmla="*/ 355594 h 355594"/>
                  <a:gd name="connsiteX17" fmla="*/ 4888704 w 4948380"/>
                  <a:gd name="connsiteY17" fmla="*/ 355594 h 355594"/>
                  <a:gd name="connsiteX18" fmla="*/ 4881563 w 4948380"/>
                  <a:gd name="connsiteY18" fmla="*/ 341312 h 355594"/>
                  <a:gd name="connsiteX19" fmla="*/ 4865688 w 4948380"/>
                  <a:gd name="connsiteY19" fmla="*/ 317500 h 355594"/>
                  <a:gd name="connsiteX20" fmla="*/ 4848225 w 4948380"/>
                  <a:gd name="connsiteY20" fmla="*/ 288925 h 355594"/>
                  <a:gd name="connsiteX21" fmla="*/ 4826000 w 4948380"/>
                  <a:gd name="connsiteY21" fmla="*/ 266700 h 355594"/>
                  <a:gd name="connsiteX22" fmla="*/ 4800600 w 4948380"/>
                  <a:gd name="connsiteY22" fmla="*/ 246062 h 355594"/>
                  <a:gd name="connsiteX23" fmla="*/ 4776788 w 4948380"/>
                  <a:gd name="connsiteY23" fmla="*/ 227012 h 355594"/>
                  <a:gd name="connsiteX24" fmla="*/ 4748213 w 4948380"/>
                  <a:gd name="connsiteY24" fmla="*/ 207962 h 355594"/>
                  <a:gd name="connsiteX25" fmla="*/ 4719638 w 4948380"/>
                  <a:gd name="connsiteY25" fmla="*/ 195262 h 355594"/>
                  <a:gd name="connsiteX26" fmla="*/ 4689475 w 4948380"/>
                  <a:gd name="connsiteY26" fmla="*/ 182562 h 355594"/>
                  <a:gd name="connsiteX27" fmla="*/ 4657725 w 4948380"/>
                  <a:gd name="connsiteY27" fmla="*/ 177800 h 355594"/>
                  <a:gd name="connsiteX28" fmla="*/ 4624388 w 4948380"/>
                  <a:gd name="connsiteY28" fmla="*/ 171450 h 355594"/>
                  <a:gd name="connsiteX29" fmla="*/ 4589463 w 4948380"/>
                  <a:gd name="connsiteY29" fmla="*/ 168275 h 355594"/>
                  <a:gd name="connsiteX30" fmla="*/ 109538 w 4948380"/>
                  <a:gd name="connsiteY30" fmla="*/ 168275 h 355594"/>
                  <a:gd name="connsiteX31" fmla="*/ 180975 w 4948380"/>
                  <a:gd name="connsiteY31" fmla="*/ 242887 h 355594"/>
                  <a:gd name="connsiteX32" fmla="*/ 139700 w 4948380"/>
                  <a:gd name="connsiteY32" fmla="*/ 282575 h 355594"/>
                  <a:gd name="connsiteX33" fmla="*/ 0 w 4948380"/>
                  <a:gd name="connsiteY33" fmla="*/ 139700 h 355594"/>
                  <a:gd name="connsiteX34" fmla="*/ 139700 w 4948380"/>
                  <a:gd name="connsiteY34" fmla="*/ 0 h 355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4948380" h="355594">
                    <a:moveTo>
                      <a:pt x="139700" y="0"/>
                    </a:moveTo>
                    <a:lnTo>
                      <a:pt x="180975" y="39687"/>
                    </a:lnTo>
                    <a:lnTo>
                      <a:pt x="109538" y="111125"/>
                    </a:lnTo>
                    <a:lnTo>
                      <a:pt x="4589463" y="111125"/>
                    </a:lnTo>
                    <a:lnTo>
                      <a:pt x="4629150" y="114300"/>
                    </a:lnTo>
                    <a:lnTo>
                      <a:pt x="4667250" y="120650"/>
                    </a:lnTo>
                    <a:lnTo>
                      <a:pt x="4703763" y="130175"/>
                    </a:lnTo>
                    <a:lnTo>
                      <a:pt x="4741863" y="142875"/>
                    </a:lnTo>
                    <a:lnTo>
                      <a:pt x="4776788" y="158750"/>
                    </a:lnTo>
                    <a:lnTo>
                      <a:pt x="4806950" y="179387"/>
                    </a:lnTo>
                    <a:lnTo>
                      <a:pt x="4835525" y="201612"/>
                    </a:lnTo>
                    <a:lnTo>
                      <a:pt x="4862513" y="227012"/>
                    </a:lnTo>
                    <a:lnTo>
                      <a:pt x="4887913" y="254000"/>
                    </a:lnTo>
                    <a:lnTo>
                      <a:pt x="4913313" y="282575"/>
                    </a:lnTo>
                    <a:lnTo>
                      <a:pt x="4930775" y="317500"/>
                    </a:lnTo>
                    <a:lnTo>
                      <a:pt x="4946650" y="350837"/>
                    </a:lnTo>
                    <a:lnTo>
                      <a:pt x="4948380" y="355594"/>
                    </a:lnTo>
                    <a:lnTo>
                      <a:pt x="4888704" y="355594"/>
                    </a:lnTo>
                    <a:lnTo>
                      <a:pt x="4881563" y="341312"/>
                    </a:lnTo>
                    <a:lnTo>
                      <a:pt x="4865688" y="317500"/>
                    </a:lnTo>
                    <a:lnTo>
                      <a:pt x="4848225" y="288925"/>
                    </a:lnTo>
                    <a:lnTo>
                      <a:pt x="4826000" y="266700"/>
                    </a:lnTo>
                    <a:lnTo>
                      <a:pt x="4800600" y="246062"/>
                    </a:lnTo>
                    <a:lnTo>
                      <a:pt x="4776788" y="227012"/>
                    </a:lnTo>
                    <a:lnTo>
                      <a:pt x="4748213" y="207962"/>
                    </a:lnTo>
                    <a:lnTo>
                      <a:pt x="4719638" y="195262"/>
                    </a:lnTo>
                    <a:lnTo>
                      <a:pt x="4689475" y="182562"/>
                    </a:lnTo>
                    <a:lnTo>
                      <a:pt x="4657725" y="177800"/>
                    </a:lnTo>
                    <a:lnTo>
                      <a:pt x="4624388" y="171450"/>
                    </a:lnTo>
                    <a:lnTo>
                      <a:pt x="4589463" y="168275"/>
                    </a:lnTo>
                    <a:lnTo>
                      <a:pt x="109538" y="168275"/>
                    </a:lnTo>
                    <a:lnTo>
                      <a:pt x="180975" y="242887"/>
                    </a:lnTo>
                    <a:lnTo>
                      <a:pt x="139700" y="282575"/>
                    </a:lnTo>
                    <a:lnTo>
                      <a:pt x="0" y="139700"/>
                    </a:lnTo>
                    <a:lnTo>
                      <a:pt x="13970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 bwMode="ltGray">
              <a:xfrm>
                <a:off x="5873751" y="-305336"/>
                <a:ext cx="479603" cy="241836"/>
              </a:xfrm>
              <a:custGeom>
                <a:avLst/>
                <a:gdLst>
                  <a:gd name="connsiteX0" fmla="*/ 419221 w 479603"/>
                  <a:gd name="connsiteY0" fmla="*/ 0 h 241836"/>
                  <a:gd name="connsiteX1" fmla="*/ 479603 w 479603"/>
                  <a:gd name="connsiteY1" fmla="*/ 0 h 241836"/>
                  <a:gd name="connsiteX2" fmla="*/ 477837 w 479603"/>
                  <a:gd name="connsiteY2" fmla="*/ 5298 h 241836"/>
                  <a:gd name="connsiteX3" fmla="*/ 461962 w 479603"/>
                  <a:gd name="connsiteY3" fmla="*/ 38636 h 241836"/>
                  <a:gd name="connsiteX4" fmla="*/ 444500 w 479603"/>
                  <a:gd name="connsiteY4" fmla="*/ 70386 h 241836"/>
                  <a:gd name="connsiteX5" fmla="*/ 419100 w 479603"/>
                  <a:gd name="connsiteY5" fmla="*/ 102136 h 241836"/>
                  <a:gd name="connsiteX6" fmla="*/ 393700 w 479603"/>
                  <a:gd name="connsiteY6" fmla="*/ 129123 h 241836"/>
                  <a:gd name="connsiteX7" fmla="*/ 366712 w 479603"/>
                  <a:gd name="connsiteY7" fmla="*/ 154523 h 241836"/>
                  <a:gd name="connsiteX8" fmla="*/ 338137 w 479603"/>
                  <a:gd name="connsiteY8" fmla="*/ 176748 h 241836"/>
                  <a:gd name="connsiteX9" fmla="*/ 307975 w 479603"/>
                  <a:gd name="connsiteY9" fmla="*/ 194211 h 241836"/>
                  <a:gd name="connsiteX10" fmla="*/ 273050 w 479603"/>
                  <a:gd name="connsiteY10" fmla="*/ 210086 h 241836"/>
                  <a:gd name="connsiteX11" fmla="*/ 234950 w 479603"/>
                  <a:gd name="connsiteY11" fmla="*/ 225961 h 241836"/>
                  <a:gd name="connsiteX12" fmla="*/ 198437 w 479603"/>
                  <a:gd name="connsiteY12" fmla="*/ 235486 h 241836"/>
                  <a:gd name="connsiteX13" fmla="*/ 160337 w 479603"/>
                  <a:gd name="connsiteY13" fmla="*/ 241836 h 241836"/>
                  <a:gd name="connsiteX14" fmla="*/ 120650 w 479603"/>
                  <a:gd name="connsiteY14" fmla="*/ 241836 h 241836"/>
                  <a:gd name="connsiteX15" fmla="*/ 0 w 479603"/>
                  <a:gd name="connsiteY15" fmla="*/ 241836 h 241836"/>
                  <a:gd name="connsiteX16" fmla="*/ 0 w 479603"/>
                  <a:gd name="connsiteY16" fmla="*/ 184686 h 241836"/>
                  <a:gd name="connsiteX17" fmla="*/ 120650 w 479603"/>
                  <a:gd name="connsiteY17" fmla="*/ 184686 h 241836"/>
                  <a:gd name="connsiteX18" fmla="*/ 155575 w 479603"/>
                  <a:gd name="connsiteY18" fmla="*/ 184686 h 241836"/>
                  <a:gd name="connsiteX19" fmla="*/ 188912 w 479603"/>
                  <a:gd name="connsiteY19" fmla="*/ 178336 h 241836"/>
                  <a:gd name="connsiteX20" fmla="*/ 220662 w 479603"/>
                  <a:gd name="connsiteY20" fmla="*/ 173573 h 241836"/>
                  <a:gd name="connsiteX21" fmla="*/ 250825 w 479603"/>
                  <a:gd name="connsiteY21" fmla="*/ 160873 h 241836"/>
                  <a:gd name="connsiteX22" fmla="*/ 279400 w 479603"/>
                  <a:gd name="connsiteY22" fmla="*/ 144998 h 241836"/>
                  <a:gd name="connsiteX23" fmla="*/ 307975 w 479603"/>
                  <a:gd name="connsiteY23" fmla="*/ 129123 h 241836"/>
                  <a:gd name="connsiteX24" fmla="*/ 331787 w 479603"/>
                  <a:gd name="connsiteY24" fmla="*/ 110073 h 241836"/>
                  <a:gd name="connsiteX25" fmla="*/ 357187 w 479603"/>
                  <a:gd name="connsiteY25" fmla="*/ 89436 h 241836"/>
                  <a:gd name="connsiteX26" fmla="*/ 379412 w 479603"/>
                  <a:gd name="connsiteY26" fmla="*/ 64036 h 241836"/>
                  <a:gd name="connsiteX27" fmla="*/ 396875 w 479603"/>
                  <a:gd name="connsiteY27" fmla="*/ 38636 h 241836"/>
                  <a:gd name="connsiteX28" fmla="*/ 412750 w 479603"/>
                  <a:gd name="connsiteY28" fmla="*/ 11648 h 241836"/>
                  <a:gd name="connsiteX29" fmla="*/ 419221 w 479603"/>
                  <a:gd name="connsiteY29" fmla="*/ 0 h 2418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79603" h="241836">
                    <a:moveTo>
                      <a:pt x="419221" y="0"/>
                    </a:moveTo>
                    <a:lnTo>
                      <a:pt x="479603" y="0"/>
                    </a:lnTo>
                    <a:lnTo>
                      <a:pt x="477837" y="5298"/>
                    </a:lnTo>
                    <a:lnTo>
                      <a:pt x="461962" y="38636"/>
                    </a:lnTo>
                    <a:lnTo>
                      <a:pt x="444500" y="70386"/>
                    </a:lnTo>
                    <a:lnTo>
                      <a:pt x="419100" y="102136"/>
                    </a:lnTo>
                    <a:lnTo>
                      <a:pt x="393700" y="129123"/>
                    </a:lnTo>
                    <a:lnTo>
                      <a:pt x="366712" y="154523"/>
                    </a:lnTo>
                    <a:lnTo>
                      <a:pt x="338137" y="176748"/>
                    </a:lnTo>
                    <a:lnTo>
                      <a:pt x="307975" y="194211"/>
                    </a:lnTo>
                    <a:lnTo>
                      <a:pt x="273050" y="210086"/>
                    </a:lnTo>
                    <a:lnTo>
                      <a:pt x="234950" y="225961"/>
                    </a:lnTo>
                    <a:lnTo>
                      <a:pt x="198437" y="235486"/>
                    </a:lnTo>
                    <a:lnTo>
                      <a:pt x="160337" y="241836"/>
                    </a:lnTo>
                    <a:lnTo>
                      <a:pt x="120650" y="241836"/>
                    </a:lnTo>
                    <a:lnTo>
                      <a:pt x="0" y="241836"/>
                    </a:lnTo>
                    <a:lnTo>
                      <a:pt x="0" y="184686"/>
                    </a:lnTo>
                    <a:lnTo>
                      <a:pt x="120650" y="184686"/>
                    </a:lnTo>
                    <a:lnTo>
                      <a:pt x="155575" y="184686"/>
                    </a:lnTo>
                    <a:lnTo>
                      <a:pt x="188912" y="178336"/>
                    </a:lnTo>
                    <a:lnTo>
                      <a:pt x="220662" y="173573"/>
                    </a:lnTo>
                    <a:lnTo>
                      <a:pt x="250825" y="160873"/>
                    </a:lnTo>
                    <a:lnTo>
                      <a:pt x="279400" y="144998"/>
                    </a:lnTo>
                    <a:lnTo>
                      <a:pt x="307975" y="129123"/>
                    </a:lnTo>
                    <a:lnTo>
                      <a:pt x="331787" y="110073"/>
                    </a:lnTo>
                    <a:lnTo>
                      <a:pt x="357187" y="89436"/>
                    </a:lnTo>
                    <a:lnTo>
                      <a:pt x="379412" y="64036"/>
                    </a:lnTo>
                    <a:lnTo>
                      <a:pt x="396875" y="38636"/>
                    </a:lnTo>
                    <a:lnTo>
                      <a:pt x="412750" y="11648"/>
                    </a:lnTo>
                    <a:lnTo>
                      <a:pt x="419221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90000"/>
                  </a:lnSpc>
                </a:pPr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0" name="TextBox 29"/>
          <p:cNvSpPr txBox="1"/>
          <p:nvPr/>
        </p:nvSpPr>
        <p:spPr>
          <a:xfrm>
            <a:off x="661801" y="4036430"/>
            <a:ext cx="2131541" cy="4273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350" b="1" dirty="0"/>
              <a:t>Периферийные вычисления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144522" y="4105483"/>
            <a:ext cx="895472" cy="3583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ru-RU" sz="1350" b="1" dirty="0"/>
              <a:t>Облако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026376" y="4105483"/>
            <a:ext cx="2793206" cy="3583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Управление на основе  данных</a:t>
            </a:r>
          </a:p>
        </p:txBody>
      </p:sp>
      <p:sp>
        <p:nvSpPr>
          <p:cNvPr id="35" name="12-Point Star 34"/>
          <p:cNvSpPr/>
          <p:nvPr/>
        </p:nvSpPr>
        <p:spPr bwMode="ltGray">
          <a:xfrm>
            <a:off x="2020746" y="3022691"/>
            <a:ext cx="932091" cy="842656"/>
          </a:xfrm>
          <a:prstGeom prst="star12">
            <a:avLst/>
          </a:prstGeom>
          <a:noFill/>
          <a:ln w="603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>
              <a:lnSpc>
                <a:spcPct val="90000"/>
              </a:lnSpc>
            </a:pPr>
            <a:r>
              <a:rPr lang="en-US" b="1" dirty="0">
                <a:solidFill>
                  <a:schemeClr val="accent3"/>
                </a:solidFill>
              </a:rPr>
              <a:t>75%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9856" y="2232653"/>
            <a:ext cx="615431" cy="116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36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райверы вычислений в «тумане»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4</a:t>
            </a:fld>
            <a:endParaRPr lang="en-US">
              <a:solidFill>
                <a:srgbClr val="617D78"/>
              </a:solidFill>
            </a:endParaRPr>
          </a:p>
        </p:txBody>
      </p: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1193897" y="2074045"/>
            <a:ext cx="617156" cy="615383"/>
            <a:chOff x="5819775" y="685800"/>
            <a:chExt cx="552450" cy="550863"/>
          </a:xfrm>
        </p:grpSpPr>
        <p:sp>
          <p:nvSpPr>
            <p:cNvPr id="11" name="Freeform 137"/>
            <p:cNvSpPr>
              <a:spLocks/>
            </p:cNvSpPr>
            <p:nvPr/>
          </p:nvSpPr>
          <p:spPr bwMode="auto">
            <a:xfrm>
              <a:off x="5819775" y="685800"/>
              <a:ext cx="552450" cy="550863"/>
            </a:xfrm>
            <a:custGeom>
              <a:avLst/>
              <a:gdLst>
                <a:gd name="T0" fmla="*/ 72 w 144"/>
                <a:gd name="T1" fmla="*/ 144 h 144"/>
                <a:gd name="T2" fmla="*/ 0 w 144"/>
                <a:gd name="T3" fmla="*/ 72 h 144"/>
                <a:gd name="T4" fmla="*/ 72 w 144"/>
                <a:gd name="T5" fmla="*/ 0 h 144"/>
                <a:gd name="T6" fmla="*/ 72 w 144"/>
                <a:gd name="T7" fmla="*/ 8 h 144"/>
                <a:gd name="T8" fmla="*/ 8 w 144"/>
                <a:gd name="T9" fmla="*/ 72 h 144"/>
                <a:gd name="T10" fmla="*/ 72 w 144"/>
                <a:gd name="T11" fmla="*/ 136 h 144"/>
                <a:gd name="T12" fmla="*/ 136 w 144"/>
                <a:gd name="T13" fmla="*/ 72 h 144"/>
                <a:gd name="T14" fmla="*/ 144 w 144"/>
                <a:gd name="T15" fmla="*/ 72 h 144"/>
                <a:gd name="T16" fmla="*/ 72 w 144"/>
                <a:gd name="T1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cubicBezTo>
                    <a:pt x="32" y="144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37" y="8"/>
                    <a:pt x="8" y="37"/>
                    <a:pt x="8" y="72"/>
                  </a:cubicBezTo>
                  <a:cubicBezTo>
                    <a:pt x="8" y="107"/>
                    <a:pt x="37" y="136"/>
                    <a:pt x="72" y="136"/>
                  </a:cubicBezTo>
                  <a:cubicBezTo>
                    <a:pt x="107" y="136"/>
                    <a:pt x="136" y="107"/>
                    <a:pt x="136" y="72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4" y="112"/>
                    <a:pt x="112" y="144"/>
                    <a:pt x="72" y="1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2" name="Freeform 138"/>
            <p:cNvSpPr>
              <a:spLocks noEditPoints="1"/>
            </p:cNvSpPr>
            <p:nvPr/>
          </p:nvSpPr>
          <p:spPr bwMode="auto">
            <a:xfrm>
              <a:off x="5973763" y="696913"/>
              <a:ext cx="387350" cy="401638"/>
            </a:xfrm>
            <a:custGeom>
              <a:avLst/>
              <a:gdLst>
                <a:gd name="T0" fmla="*/ 36 w 101"/>
                <a:gd name="T1" fmla="*/ 41 h 105"/>
                <a:gd name="T2" fmla="*/ 36 w 101"/>
                <a:gd name="T3" fmla="*/ 37 h 105"/>
                <a:gd name="T4" fmla="*/ 40 w 101"/>
                <a:gd name="T5" fmla="*/ 37 h 105"/>
                <a:gd name="T6" fmla="*/ 40 w 101"/>
                <a:gd name="T7" fmla="*/ 29 h 105"/>
                <a:gd name="T8" fmla="*/ 24 w 101"/>
                <a:gd name="T9" fmla="*/ 29 h 105"/>
                <a:gd name="T10" fmla="*/ 24 w 101"/>
                <a:gd name="T11" fmla="*/ 37 h 105"/>
                <a:gd name="T12" fmla="*/ 28 w 101"/>
                <a:gd name="T13" fmla="*/ 37 h 105"/>
                <a:gd name="T14" fmla="*/ 28 w 101"/>
                <a:gd name="T15" fmla="*/ 41 h 105"/>
                <a:gd name="T16" fmla="*/ 0 w 101"/>
                <a:gd name="T17" fmla="*/ 73 h 105"/>
                <a:gd name="T18" fmla="*/ 32 w 101"/>
                <a:gd name="T19" fmla="*/ 105 h 105"/>
                <a:gd name="T20" fmla="*/ 64 w 101"/>
                <a:gd name="T21" fmla="*/ 73 h 105"/>
                <a:gd name="T22" fmla="*/ 36 w 101"/>
                <a:gd name="T23" fmla="*/ 41 h 105"/>
                <a:gd name="T24" fmla="*/ 32 w 101"/>
                <a:gd name="T25" fmla="*/ 97 h 105"/>
                <a:gd name="T26" fmla="*/ 8 w 101"/>
                <a:gd name="T27" fmla="*/ 73 h 105"/>
                <a:gd name="T28" fmla="*/ 32 w 101"/>
                <a:gd name="T29" fmla="*/ 49 h 105"/>
                <a:gd name="T30" fmla="*/ 56 w 101"/>
                <a:gd name="T31" fmla="*/ 73 h 105"/>
                <a:gd name="T32" fmla="*/ 32 w 101"/>
                <a:gd name="T33" fmla="*/ 97 h 105"/>
                <a:gd name="T34" fmla="*/ 36 w 101"/>
                <a:gd name="T35" fmla="*/ 73 h 105"/>
                <a:gd name="T36" fmla="*/ 44 w 101"/>
                <a:gd name="T37" fmla="*/ 73 h 105"/>
                <a:gd name="T38" fmla="*/ 44 w 101"/>
                <a:gd name="T39" fmla="*/ 81 h 105"/>
                <a:gd name="T40" fmla="*/ 28 w 101"/>
                <a:gd name="T41" fmla="*/ 81 h 105"/>
                <a:gd name="T42" fmla="*/ 28 w 101"/>
                <a:gd name="T43" fmla="*/ 57 h 105"/>
                <a:gd name="T44" fmla="*/ 36 w 101"/>
                <a:gd name="T45" fmla="*/ 57 h 105"/>
                <a:gd name="T46" fmla="*/ 36 w 101"/>
                <a:gd name="T47" fmla="*/ 73 h 105"/>
                <a:gd name="T48" fmla="*/ 93 w 101"/>
                <a:gd name="T49" fmla="*/ 51 h 105"/>
                <a:gd name="T50" fmla="*/ 50 w 101"/>
                <a:gd name="T51" fmla="*/ 8 h 105"/>
                <a:gd name="T52" fmla="*/ 53 w 101"/>
                <a:gd name="T53" fmla="*/ 0 h 105"/>
                <a:gd name="T54" fmla="*/ 101 w 101"/>
                <a:gd name="T55" fmla="*/ 48 h 105"/>
                <a:gd name="T56" fmla="*/ 93 w 101"/>
                <a:gd name="T57" fmla="*/ 5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1" h="105">
                  <a:moveTo>
                    <a:pt x="36" y="41"/>
                  </a:moveTo>
                  <a:cubicBezTo>
                    <a:pt x="36" y="37"/>
                    <a:pt x="36" y="37"/>
                    <a:pt x="36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12" y="43"/>
                    <a:pt x="0" y="57"/>
                    <a:pt x="0" y="73"/>
                  </a:cubicBezTo>
                  <a:cubicBezTo>
                    <a:pt x="0" y="91"/>
                    <a:pt x="14" y="105"/>
                    <a:pt x="32" y="105"/>
                  </a:cubicBezTo>
                  <a:cubicBezTo>
                    <a:pt x="50" y="105"/>
                    <a:pt x="64" y="91"/>
                    <a:pt x="64" y="73"/>
                  </a:cubicBezTo>
                  <a:cubicBezTo>
                    <a:pt x="64" y="57"/>
                    <a:pt x="52" y="43"/>
                    <a:pt x="36" y="41"/>
                  </a:cubicBezTo>
                  <a:close/>
                  <a:moveTo>
                    <a:pt x="32" y="97"/>
                  </a:moveTo>
                  <a:cubicBezTo>
                    <a:pt x="19" y="97"/>
                    <a:pt x="8" y="86"/>
                    <a:pt x="8" y="73"/>
                  </a:cubicBezTo>
                  <a:cubicBezTo>
                    <a:pt x="8" y="60"/>
                    <a:pt x="19" y="49"/>
                    <a:pt x="32" y="49"/>
                  </a:cubicBezTo>
                  <a:cubicBezTo>
                    <a:pt x="45" y="49"/>
                    <a:pt x="56" y="60"/>
                    <a:pt x="56" y="73"/>
                  </a:cubicBezTo>
                  <a:cubicBezTo>
                    <a:pt x="56" y="86"/>
                    <a:pt x="45" y="97"/>
                    <a:pt x="32" y="97"/>
                  </a:cubicBezTo>
                  <a:close/>
                  <a:moveTo>
                    <a:pt x="36" y="73"/>
                  </a:moveTo>
                  <a:cubicBezTo>
                    <a:pt x="44" y="73"/>
                    <a:pt x="44" y="73"/>
                    <a:pt x="44" y="7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28" y="81"/>
                    <a:pt x="28" y="81"/>
                    <a:pt x="28" y="81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6" y="57"/>
                    <a:pt x="36" y="57"/>
                    <a:pt x="36" y="57"/>
                  </a:cubicBezTo>
                  <a:lnTo>
                    <a:pt x="36" y="73"/>
                  </a:lnTo>
                  <a:close/>
                  <a:moveTo>
                    <a:pt x="93" y="51"/>
                  </a:moveTo>
                  <a:cubicBezTo>
                    <a:pt x="87" y="30"/>
                    <a:pt x="71" y="14"/>
                    <a:pt x="50" y="8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76" y="7"/>
                    <a:pt x="94" y="25"/>
                    <a:pt x="101" y="48"/>
                  </a:cubicBezTo>
                  <a:lnTo>
                    <a:pt x="93" y="51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3" name="Group 12"/>
          <p:cNvGrpSpPr>
            <a:grpSpLocks noChangeAspect="1"/>
          </p:cNvGrpSpPr>
          <p:nvPr/>
        </p:nvGrpSpPr>
        <p:grpSpPr>
          <a:xfrm>
            <a:off x="1118132" y="3002571"/>
            <a:ext cx="768686" cy="512456"/>
            <a:chOff x="5819775" y="3246438"/>
            <a:chExt cx="552450" cy="368300"/>
          </a:xfrm>
        </p:grpSpPr>
        <p:sp>
          <p:nvSpPr>
            <p:cNvPr id="14" name="Freeform 48"/>
            <p:cNvSpPr>
              <a:spLocks noEditPoints="1"/>
            </p:cNvSpPr>
            <p:nvPr/>
          </p:nvSpPr>
          <p:spPr bwMode="auto">
            <a:xfrm>
              <a:off x="5819775" y="3246438"/>
              <a:ext cx="552450" cy="368300"/>
            </a:xfrm>
            <a:custGeom>
              <a:avLst/>
              <a:gdLst>
                <a:gd name="T0" fmla="*/ 23 w 144"/>
                <a:gd name="T1" fmla="*/ 72 h 95"/>
                <a:gd name="T2" fmla="*/ 15 w 144"/>
                <a:gd name="T3" fmla="*/ 72 h 95"/>
                <a:gd name="T4" fmla="*/ 72 w 144"/>
                <a:gd name="T5" fmla="*/ 15 h 95"/>
                <a:gd name="T6" fmla="*/ 115 w 144"/>
                <a:gd name="T7" fmla="*/ 35 h 95"/>
                <a:gd name="T8" fmla="*/ 109 w 144"/>
                <a:gd name="T9" fmla="*/ 41 h 95"/>
                <a:gd name="T10" fmla="*/ 72 w 144"/>
                <a:gd name="T11" fmla="*/ 23 h 95"/>
                <a:gd name="T12" fmla="*/ 23 w 144"/>
                <a:gd name="T13" fmla="*/ 72 h 95"/>
                <a:gd name="T14" fmla="*/ 144 w 144"/>
                <a:gd name="T15" fmla="*/ 72 h 95"/>
                <a:gd name="T16" fmla="*/ 72 w 144"/>
                <a:gd name="T17" fmla="*/ 0 h 95"/>
                <a:gd name="T18" fmla="*/ 0 w 144"/>
                <a:gd name="T19" fmla="*/ 72 h 95"/>
                <a:gd name="T20" fmla="*/ 0 w 144"/>
                <a:gd name="T21" fmla="*/ 95 h 95"/>
                <a:gd name="T22" fmla="*/ 52 w 144"/>
                <a:gd name="T23" fmla="*/ 95 h 95"/>
                <a:gd name="T24" fmla="*/ 56 w 144"/>
                <a:gd name="T25" fmla="*/ 91 h 95"/>
                <a:gd name="T26" fmla="*/ 52 w 144"/>
                <a:gd name="T27" fmla="*/ 87 h 95"/>
                <a:gd name="T28" fmla="*/ 8 w 144"/>
                <a:gd name="T29" fmla="*/ 87 h 95"/>
                <a:gd name="T30" fmla="*/ 8 w 144"/>
                <a:gd name="T31" fmla="*/ 72 h 95"/>
                <a:gd name="T32" fmla="*/ 72 w 144"/>
                <a:gd name="T33" fmla="*/ 8 h 95"/>
                <a:gd name="T34" fmla="*/ 136 w 144"/>
                <a:gd name="T35" fmla="*/ 72 h 95"/>
                <a:gd name="T36" fmla="*/ 136 w 144"/>
                <a:gd name="T37" fmla="*/ 87 h 95"/>
                <a:gd name="T38" fmla="*/ 92 w 144"/>
                <a:gd name="T39" fmla="*/ 87 h 95"/>
                <a:gd name="T40" fmla="*/ 88 w 144"/>
                <a:gd name="T41" fmla="*/ 91 h 95"/>
                <a:gd name="T42" fmla="*/ 92 w 144"/>
                <a:gd name="T43" fmla="*/ 95 h 95"/>
                <a:gd name="T44" fmla="*/ 144 w 144"/>
                <a:gd name="T45" fmla="*/ 95 h 95"/>
                <a:gd name="T46" fmla="*/ 144 w 144"/>
                <a:gd name="T47" fmla="*/ 72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4" h="95">
                  <a:moveTo>
                    <a:pt x="23" y="72"/>
                  </a:moveTo>
                  <a:cubicBezTo>
                    <a:pt x="15" y="72"/>
                    <a:pt x="15" y="72"/>
                    <a:pt x="15" y="72"/>
                  </a:cubicBezTo>
                  <a:cubicBezTo>
                    <a:pt x="15" y="41"/>
                    <a:pt x="41" y="15"/>
                    <a:pt x="72" y="15"/>
                  </a:cubicBezTo>
                  <a:cubicBezTo>
                    <a:pt x="89" y="15"/>
                    <a:pt x="104" y="22"/>
                    <a:pt x="115" y="35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0" y="29"/>
                    <a:pt x="86" y="23"/>
                    <a:pt x="72" y="23"/>
                  </a:cubicBezTo>
                  <a:cubicBezTo>
                    <a:pt x="45" y="23"/>
                    <a:pt x="23" y="45"/>
                    <a:pt x="23" y="72"/>
                  </a:cubicBezTo>
                  <a:close/>
                  <a:moveTo>
                    <a:pt x="144" y="72"/>
                  </a:moveTo>
                  <a:cubicBezTo>
                    <a:pt x="144" y="32"/>
                    <a:pt x="112" y="0"/>
                    <a:pt x="72" y="0"/>
                  </a:cubicBezTo>
                  <a:cubicBezTo>
                    <a:pt x="32" y="0"/>
                    <a:pt x="0" y="32"/>
                    <a:pt x="0" y="72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4" y="95"/>
                    <a:pt x="56" y="93"/>
                    <a:pt x="56" y="91"/>
                  </a:cubicBezTo>
                  <a:cubicBezTo>
                    <a:pt x="56" y="89"/>
                    <a:pt x="54" y="87"/>
                    <a:pt x="52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37"/>
                    <a:pt x="37" y="8"/>
                    <a:pt x="72" y="8"/>
                  </a:cubicBezTo>
                  <a:cubicBezTo>
                    <a:pt x="107" y="8"/>
                    <a:pt x="136" y="37"/>
                    <a:pt x="136" y="72"/>
                  </a:cubicBezTo>
                  <a:cubicBezTo>
                    <a:pt x="136" y="87"/>
                    <a:pt x="136" y="87"/>
                    <a:pt x="136" y="87"/>
                  </a:cubicBezTo>
                  <a:cubicBezTo>
                    <a:pt x="92" y="87"/>
                    <a:pt x="92" y="87"/>
                    <a:pt x="92" y="87"/>
                  </a:cubicBezTo>
                  <a:cubicBezTo>
                    <a:pt x="90" y="87"/>
                    <a:pt x="88" y="89"/>
                    <a:pt x="88" y="91"/>
                  </a:cubicBezTo>
                  <a:cubicBezTo>
                    <a:pt x="88" y="93"/>
                    <a:pt x="90" y="95"/>
                    <a:pt x="92" y="95"/>
                  </a:cubicBezTo>
                  <a:cubicBezTo>
                    <a:pt x="144" y="95"/>
                    <a:pt x="144" y="95"/>
                    <a:pt x="144" y="95"/>
                  </a:cubicBezTo>
                  <a:lnTo>
                    <a:pt x="144" y="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5" name="Freeform 49"/>
            <p:cNvSpPr>
              <a:spLocks noEditPoints="1"/>
            </p:cNvSpPr>
            <p:nvPr/>
          </p:nvSpPr>
          <p:spPr bwMode="auto">
            <a:xfrm>
              <a:off x="6049963" y="3432176"/>
              <a:ext cx="265113" cy="158750"/>
            </a:xfrm>
            <a:custGeom>
              <a:avLst/>
              <a:gdLst>
                <a:gd name="T0" fmla="*/ 69 w 69"/>
                <a:gd name="T1" fmla="*/ 24 h 41"/>
                <a:gd name="T2" fmla="*/ 61 w 69"/>
                <a:gd name="T3" fmla="*/ 24 h 41"/>
                <a:gd name="T4" fmla="*/ 56 w 69"/>
                <a:gd name="T5" fmla="*/ 4 h 41"/>
                <a:gd name="T6" fmla="*/ 64 w 69"/>
                <a:gd name="T7" fmla="*/ 0 h 41"/>
                <a:gd name="T8" fmla="*/ 69 w 69"/>
                <a:gd name="T9" fmla="*/ 24 h 41"/>
                <a:gd name="T10" fmla="*/ 49 w 69"/>
                <a:gd name="T11" fmla="*/ 21 h 41"/>
                <a:gd name="T12" fmla="*/ 24 w 69"/>
                <a:gd name="T13" fmla="*/ 29 h 41"/>
                <a:gd name="T14" fmla="*/ 12 w 69"/>
                <a:gd name="T15" fmla="*/ 41 h 41"/>
                <a:gd name="T16" fmla="*/ 0 w 69"/>
                <a:gd name="T17" fmla="*/ 29 h 41"/>
                <a:gd name="T18" fmla="*/ 12 w 69"/>
                <a:gd name="T19" fmla="*/ 17 h 41"/>
                <a:gd name="T20" fmla="*/ 21 w 69"/>
                <a:gd name="T21" fmla="*/ 22 h 41"/>
                <a:gd name="T22" fmla="*/ 47 w 69"/>
                <a:gd name="T23" fmla="*/ 13 h 41"/>
                <a:gd name="T24" fmla="*/ 52 w 69"/>
                <a:gd name="T25" fmla="*/ 16 h 41"/>
                <a:gd name="T26" fmla="*/ 49 w 69"/>
                <a:gd name="T27" fmla="*/ 21 h 41"/>
                <a:gd name="T28" fmla="*/ 16 w 69"/>
                <a:gd name="T29" fmla="*/ 29 h 41"/>
                <a:gd name="T30" fmla="*/ 12 w 69"/>
                <a:gd name="T31" fmla="*/ 25 h 41"/>
                <a:gd name="T32" fmla="*/ 8 w 69"/>
                <a:gd name="T33" fmla="*/ 29 h 41"/>
                <a:gd name="T34" fmla="*/ 12 w 69"/>
                <a:gd name="T35" fmla="*/ 33 h 41"/>
                <a:gd name="T36" fmla="*/ 16 w 69"/>
                <a:gd name="T37" fmla="*/ 2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9" h="41">
                  <a:moveTo>
                    <a:pt x="69" y="24"/>
                  </a:moveTo>
                  <a:cubicBezTo>
                    <a:pt x="61" y="24"/>
                    <a:pt x="61" y="24"/>
                    <a:pt x="61" y="24"/>
                  </a:cubicBezTo>
                  <a:cubicBezTo>
                    <a:pt x="61" y="17"/>
                    <a:pt x="59" y="10"/>
                    <a:pt x="56" y="4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7" y="8"/>
                    <a:pt x="69" y="16"/>
                    <a:pt x="69" y="24"/>
                  </a:cubicBezTo>
                  <a:close/>
                  <a:moveTo>
                    <a:pt x="49" y="21"/>
                  </a:moveTo>
                  <a:cubicBezTo>
                    <a:pt x="24" y="29"/>
                    <a:pt x="24" y="29"/>
                    <a:pt x="24" y="29"/>
                  </a:cubicBezTo>
                  <a:cubicBezTo>
                    <a:pt x="24" y="36"/>
                    <a:pt x="19" y="41"/>
                    <a:pt x="12" y="41"/>
                  </a:cubicBezTo>
                  <a:cubicBezTo>
                    <a:pt x="5" y="41"/>
                    <a:pt x="0" y="36"/>
                    <a:pt x="0" y="29"/>
                  </a:cubicBezTo>
                  <a:cubicBezTo>
                    <a:pt x="0" y="22"/>
                    <a:pt x="5" y="17"/>
                    <a:pt x="12" y="17"/>
                  </a:cubicBezTo>
                  <a:cubicBezTo>
                    <a:pt x="16" y="17"/>
                    <a:pt x="19" y="19"/>
                    <a:pt x="21" y="22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9" y="12"/>
                    <a:pt x="51" y="14"/>
                    <a:pt x="52" y="16"/>
                  </a:cubicBezTo>
                  <a:cubicBezTo>
                    <a:pt x="52" y="18"/>
                    <a:pt x="51" y="20"/>
                    <a:pt x="49" y="21"/>
                  </a:cubicBezTo>
                  <a:close/>
                  <a:moveTo>
                    <a:pt x="16" y="29"/>
                  </a:moveTo>
                  <a:cubicBezTo>
                    <a:pt x="16" y="27"/>
                    <a:pt x="14" y="25"/>
                    <a:pt x="12" y="25"/>
                  </a:cubicBezTo>
                  <a:cubicBezTo>
                    <a:pt x="10" y="25"/>
                    <a:pt x="8" y="27"/>
                    <a:pt x="8" y="29"/>
                  </a:cubicBezTo>
                  <a:cubicBezTo>
                    <a:pt x="8" y="31"/>
                    <a:pt x="10" y="33"/>
                    <a:pt x="12" y="33"/>
                  </a:cubicBezTo>
                  <a:cubicBezTo>
                    <a:pt x="14" y="33"/>
                    <a:pt x="16" y="31"/>
                    <a:pt x="16" y="29"/>
                  </a:cubicBez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3989873" y="2656336"/>
            <a:ext cx="1143767" cy="1143767"/>
            <a:chOff x="3085139" y="3066759"/>
            <a:chExt cx="552450" cy="552450"/>
          </a:xfrm>
        </p:grpSpPr>
        <p:sp>
          <p:nvSpPr>
            <p:cNvPr id="17" name="Freeform 5"/>
            <p:cNvSpPr>
              <a:spLocks/>
            </p:cNvSpPr>
            <p:nvPr/>
          </p:nvSpPr>
          <p:spPr bwMode="auto">
            <a:xfrm>
              <a:off x="3085139" y="3066759"/>
              <a:ext cx="552450" cy="552450"/>
            </a:xfrm>
            <a:custGeom>
              <a:avLst/>
              <a:gdLst>
                <a:gd name="T0" fmla="*/ 72 w 144"/>
                <a:gd name="T1" fmla="*/ 144 h 144"/>
                <a:gd name="T2" fmla="*/ 0 w 144"/>
                <a:gd name="T3" fmla="*/ 72 h 144"/>
                <a:gd name="T4" fmla="*/ 72 w 144"/>
                <a:gd name="T5" fmla="*/ 0 h 144"/>
                <a:gd name="T6" fmla="*/ 72 w 144"/>
                <a:gd name="T7" fmla="*/ 8 h 144"/>
                <a:gd name="T8" fmla="*/ 8 w 144"/>
                <a:gd name="T9" fmla="*/ 72 h 144"/>
                <a:gd name="T10" fmla="*/ 72 w 144"/>
                <a:gd name="T11" fmla="*/ 136 h 144"/>
                <a:gd name="T12" fmla="*/ 136 w 144"/>
                <a:gd name="T13" fmla="*/ 72 h 144"/>
                <a:gd name="T14" fmla="*/ 144 w 144"/>
                <a:gd name="T15" fmla="*/ 72 h 144"/>
                <a:gd name="T16" fmla="*/ 72 w 144"/>
                <a:gd name="T17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4" h="144">
                  <a:moveTo>
                    <a:pt x="72" y="144"/>
                  </a:moveTo>
                  <a:cubicBezTo>
                    <a:pt x="32" y="144"/>
                    <a:pt x="0" y="112"/>
                    <a:pt x="0" y="72"/>
                  </a:cubicBezTo>
                  <a:cubicBezTo>
                    <a:pt x="0" y="32"/>
                    <a:pt x="32" y="0"/>
                    <a:pt x="72" y="0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37" y="8"/>
                    <a:pt x="8" y="37"/>
                    <a:pt x="8" y="72"/>
                  </a:cubicBezTo>
                  <a:cubicBezTo>
                    <a:pt x="8" y="107"/>
                    <a:pt x="37" y="136"/>
                    <a:pt x="72" y="136"/>
                  </a:cubicBezTo>
                  <a:cubicBezTo>
                    <a:pt x="107" y="136"/>
                    <a:pt x="136" y="107"/>
                    <a:pt x="136" y="72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4" y="112"/>
                    <a:pt x="112" y="144"/>
                    <a:pt x="72" y="1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3299452" y="3077872"/>
              <a:ext cx="327025" cy="403225"/>
            </a:xfrm>
            <a:custGeom>
              <a:avLst/>
              <a:gdLst>
                <a:gd name="T0" fmla="*/ 8 w 85"/>
                <a:gd name="T1" fmla="*/ 57 h 105"/>
                <a:gd name="T2" fmla="*/ 16 w 85"/>
                <a:gd name="T3" fmla="*/ 65 h 105"/>
                <a:gd name="T4" fmla="*/ 20 w 85"/>
                <a:gd name="T5" fmla="*/ 65 h 105"/>
                <a:gd name="T6" fmla="*/ 36 w 85"/>
                <a:gd name="T7" fmla="*/ 81 h 105"/>
                <a:gd name="T8" fmla="*/ 24 w 85"/>
                <a:gd name="T9" fmla="*/ 96 h 105"/>
                <a:gd name="T10" fmla="*/ 24 w 85"/>
                <a:gd name="T11" fmla="*/ 105 h 105"/>
                <a:gd name="T12" fmla="*/ 16 w 85"/>
                <a:gd name="T13" fmla="*/ 105 h 105"/>
                <a:gd name="T14" fmla="*/ 16 w 85"/>
                <a:gd name="T15" fmla="*/ 97 h 105"/>
                <a:gd name="T16" fmla="*/ 0 w 85"/>
                <a:gd name="T17" fmla="*/ 97 h 105"/>
                <a:gd name="T18" fmla="*/ 0 w 85"/>
                <a:gd name="T19" fmla="*/ 89 h 105"/>
                <a:gd name="T20" fmla="*/ 20 w 85"/>
                <a:gd name="T21" fmla="*/ 89 h 105"/>
                <a:gd name="T22" fmla="*/ 28 w 85"/>
                <a:gd name="T23" fmla="*/ 81 h 105"/>
                <a:gd name="T24" fmla="*/ 20 w 85"/>
                <a:gd name="T25" fmla="*/ 73 h 105"/>
                <a:gd name="T26" fmla="*/ 16 w 85"/>
                <a:gd name="T27" fmla="*/ 73 h 105"/>
                <a:gd name="T28" fmla="*/ 0 w 85"/>
                <a:gd name="T29" fmla="*/ 57 h 105"/>
                <a:gd name="T30" fmla="*/ 16 w 85"/>
                <a:gd name="T31" fmla="*/ 41 h 105"/>
                <a:gd name="T32" fmla="*/ 16 w 85"/>
                <a:gd name="T33" fmla="*/ 33 h 105"/>
                <a:gd name="T34" fmla="*/ 24 w 85"/>
                <a:gd name="T35" fmla="*/ 33 h 105"/>
                <a:gd name="T36" fmla="*/ 24 w 85"/>
                <a:gd name="T37" fmla="*/ 41 h 105"/>
                <a:gd name="T38" fmla="*/ 36 w 85"/>
                <a:gd name="T39" fmla="*/ 41 h 105"/>
                <a:gd name="T40" fmla="*/ 36 w 85"/>
                <a:gd name="T41" fmla="*/ 49 h 105"/>
                <a:gd name="T42" fmla="*/ 16 w 85"/>
                <a:gd name="T43" fmla="*/ 49 h 105"/>
                <a:gd name="T44" fmla="*/ 8 w 85"/>
                <a:gd name="T45" fmla="*/ 57 h 105"/>
                <a:gd name="T46" fmla="*/ 85 w 85"/>
                <a:gd name="T47" fmla="*/ 48 h 105"/>
                <a:gd name="T48" fmla="*/ 37 w 85"/>
                <a:gd name="T49" fmla="*/ 0 h 105"/>
                <a:gd name="T50" fmla="*/ 34 w 85"/>
                <a:gd name="T51" fmla="*/ 8 h 105"/>
                <a:gd name="T52" fmla="*/ 77 w 85"/>
                <a:gd name="T53" fmla="*/ 51 h 105"/>
                <a:gd name="T54" fmla="*/ 85 w 85"/>
                <a:gd name="T55" fmla="*/ 4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105">
                  <a:moveTo>
                    <a:pt x="8" y="57"/>
                  </a:moveTo>
                  <a:cubicBezTo>
                    <a:pt x="8" y="61"/>
                    <a:pt x="12" y="65"/>
                    <a:pt x="16" y="6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29" y="65"/>
                    <a:pt x="36" y="72"/>
                    <a:pt x="36" y="81"/>
                  </a:cubicBezTo>
                  <a:cubicBezTo>
                    <a:pt x="36" y="88"/>
                    <a:pt x="31" y="95"/>
                    <a:pt x="24" y="96"/>
                  </a:cubicBezTo>
                  <a:cubicBezTo>
                    <a:pt x="24" y="105"/>
                    <a:pt x="24" y="105"/>
                    <a:pt x="24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20" y="89"/>
                    <a:pt x="20" y="89"/>
                    <a:pt x="20" y="89"/>
                  </a:cubicBezTo>
                  <a:cubicBezTo>
                    <a:pt x="24" y="89"/>
                    <a:pt x="28" y="85"/>
                    <a:pt x="28" y="81"/>
                  </a:cubicBezTo>
                  <a:cubicBezTo>
                    <a:pt x="28" y="77"/>
                    <a:pt x="24" y="73"/>
                    <a:pt x="20" y="73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7" y="73"/>
                    <a:pt x="0" y="66"/>
                    <a:pt x="0" y="57"/>
                  </a:cubicBezTo>
                  <a:cubicBezTo>
                    <a:pt x="0" y="48"/>
                    <a:pt x="7" y="41"/>
                    <a:pt x="16" y="4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2" y="49"/>
                    <a:pt x="8" y="53"/>
                    <a:pt x="8" y="57"/>
                  </a:cubicBezTo>
                  <a:close/>
                  <a:moveTo>
                    <a:pt x="85" y="48"/>
                  </a:moveTo>
                  <a:cubicBezTo>
                    <a:pt x="78" y="25"/>
                    <a:pt x="60" y="7"/>
                    <a:pt x="37" y="0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55" y="14"/>
                    <a:pt x="71" y="30"/>
                    <a:pt x="77" y="51"/>
                  </a:cubicBezTo>
                  <a:lnTo>
                    <a:pt x="85" y="48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9" name="Group 18"/>
          <p:cNvGrpSpPr>
            <a:grpSpLocks noChangeAspect="1"/>
          </p:cNvGrpSpPr>
          <p:nvPr/>
        </p:nvGrpSpPr>
        <p:grpSpPr>
          <a:xfrm>
            <a:off x="6168211" y="1854816"/>
            <a:ext cx="608192" cy="901889"/>
            <a:chOff x="6245225" y="608013"/>
            <a:chExt cx="371475" cy="550862"/>
          </a:xfrm>
        </p:grpSpPr>
        <p:sp>
          <p:nvSpPr>
            <p:cNvPr id="20" name="Freeform 87"/>
            <p:cNvSpPr>
              <a:spLocks noEditPoints="1"/>
            </p:cNvSpPr>
            <p:nvPr/>
          </p:nvSpPr>
          <p:spPr bwMode="auto">
            <a:xfrm>
              <a:off x="6245225" y="608013"/>
              <a:ext cx="371475" cy="550862"/>
            </a:xfrm>
            <a:custGeom>
              <a:avLst/>
              <a:gdLst>
                <a:gd name="T0" fmla="*/ 76 w 96"/>
                <a:gd name="T1" fmla="*/ 48 h 144"/>
                <a:gd name="T2" fmla="*/ 76 w 96"/>
                <a:gd name="T3" fmla="*/ 28 h 144"/>
                <a:gd name="T4" fmla="*/ 48 w 96"/>
                <a:gd name="T5" fmla="*/ 0 h 144"/>
                <a:gd name="T6" fmla="*/ 20 w 96"/>
                <a:gd name="T7" fmla="*/ 28 h 144"/>
                <a:gd name="T8" fmla="*/ 20 w 96"/>
                <a:gd name="T9" fmla="*/ 48 h 144"/>
                <a:gd name="T10" fmla="*/ 0 w 96"/>
                <a:gd name="T11" fmla="*/ 48 h 144"/>
                <a:gd name="T12" fmla="*/ 0 w 96"/>
                <a:gd name="T13" fmla="*/ 144 h 144"/>
                <a:gd name="T14" fmla="*/ 96 w 96"/>
                <a:gd name="T15" fmla="*/ 144 h 144"/>
                <a:gd name="T16" fmla="*/ 96 w 96"/>
                <a:gd name="T17" fmla="*/ 48 h 144"/>
                <a:gd name="T18" fmla="*/ 76 w 96"/>
                <a:gd name="T19" fmla="*/ 48 h 144"/>
                <a:gd name="T20" fmla="*/ 28 w 96"/>
                <a:gd name="T21" fmla="*/ 28 h 144"/>
                <a:gd name="T22" fmla="*/ 48 w 96"/>
                <a:gd name="T23" fmla="*/ 8 h 144"/>
                <a:gd name="T24" fmla="*/ 68 w 96"/>
                <a:gd name="T25" fmla="*/ 28 h 144"/>
                <a:gd name="T26" fmla="*/ 68 w 96"/>
                <a:gd name="T27" fmla="*/ 48 h 144"/>
                <a:gd name="T28" fmla="*/ 28 w 96"/>
                <a:gd name="T29" fmla="*/ 48 h 144"/>
                <a:gd name="T30" fmla="*/ 28 w 96"/>
                <a:gd name="T31" fmla="*/ 28 h 144"/>
                <a:gd name="T32" fmla="*/ 88 w 96"/>
                <a:gd name="T33" fmla="*/ 56 h 144"/>
                <a:gd name="T34" fmla="*/ 88 w 96"/>
                <a:gd name="T35" fmla="*/ 120 h 144"/>
                <a:gd name="T36" fmla="*/ 8 w 96"/>
                <a:gd name="T37" fmla="*/ 120 h 144"/>
                <a:gd name="T38" fmla="*/ 8 w 96"/>
                <a:gd name="T39" fmla="*/ 56 h 144"/>
                <a:gd name="T40" fmla="*/ 88 w 96"/>
                <a:gd name="T41" fmla="*/ 56 h 144"/>
                <a:gd name="T42" fmla="*/ 8 w 96"/>
                <a:gd name="T43" fmla="*/ 136 h 144"/>
                <a:gd name="T44" fmla="*/ 8 w 96"/>
                <a:gd name="T45" fmla="*/ 128 h 144"/>
                <a:gd name="T46" fmla="*/ 88 w 96"/>
                <a:gd name="T47" fmla="*/ 128 h 144"/>
                <a:gd name="T48" fmla="*/ 88 w 96"/>
                <a:gd name="T49" fmla="*/ 136 h 144"/>
                <a:gd name="T50" fmla="*/ 8 w 96"/>
                <a:gd name="T51" fmla="*/ 13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6" h="144">
                  <a:moveTo>
                    <a:pt x="76" y="48"/>
                  </a:moveTo>
                  <a:cubicBezTo>
                    <a:pt x="76" y="28"/>
                    <a:pt x="76" y="28"/>
                    <a:pt x="76" y="28"/>
                  </a:cubicBezTo>
                  <a:cubicBezTo>
                    <a:pt x="76" y="13"/>
                    <a:pt x="63" y="0"/>
                    <a:pt x="48" y="0"/>
                  </a:cubicBezTo>
                  <a:cubicBezTo>
                    <a:pt x="33" y="0"/>
                    <a:pt x="20" y="13"/>
                    <a:pt x="20" y="2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48"/>
                    <a:pt x="96" y="48"/>
                    <a:pt x="96" y="48"/>
                  </a:cubicBezTo>
                  <a:lnTo>
                    <a:pt x="76" y="48"/>
                  </a:lnTo>
                  <a:close/>
                  <a:moveTo>
                    <a:pt x="28" y="28"/>
                  </a:moveTo>
                  <a:cubicBezTo>
                    <a:pt x="28" y="17"/>
                    <a:pt x="37" y="8"/>
                    <a:pt x="48" y="8"/>
                  </a:cubicBezTo>
                  <a:cubicBezTo>
                    <a:pt x="59" y="8"/>
                    <a:pt x="68" y="17"/>
                    <a:pt x="68" y="28"/>
                  </a:cubicBezTo>
                  <a:cubicBezTo>
                    <a:pt x="68" y="48"/>
                    <a:pt x="68" y="48"/>
                    <a:pt x="68" y="48"/>
                  </a:cubicBezTo>
                  <a:cubicBezTo>
                    <a:pt x="28" y="48"/>
                    <a:pt x="28" y="48"/>
                    <a:pt x="28" y="48"/>
                  </a:cubicBezTo>
                  <a:lnTo>
                    <a:pt x="28" y="28"/>
                  </a:lnTo>
                  <a:close/>
                  <a:moveTo>
                    <a:pt x="88" y="56"/>
                  </a:moveTo>
                  <a:cubicBezTo>
                    <a:pt x="88" y="120"/>
                    <a:pt x="88" y="120"/>
                    <a:pt x="8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8" y="56"/>
                    <a:pt x="8" y="56"/>
                    <a:pt x="8" y="56"/>
                  </a:cubicBezTo>
                  <a:lnTo>
                    <a:pt x="88" y="56"/>
                  </a:lnTo>
                  <a:close/>
                  <a:moveTo>
                    <a:pt x="8" y="136"/>
                  </a:moveTo>
                  <a:cubicBezTo>
                    <a:pt x="8" y="128"/>
                    <a:pt x="8" y="128"/>
                    <a:pt x="8" y="128"/>
                  </a:cubicBezTo>
                  <a:cubicBezTo>
                    <a:pt x="88" y="128"/>
                    <a:pt x="88" y="128"/>
                    <a:pt x="88" y="128"/>
                  </a:cubicBezTo>
                  <a:cubicBezTo>
                    <a:pt x="88" y="136"/>
                    <a:pt x="88" y="136"/>
                    <a:pt x="88" y="136"/>
                  </a:cubicBezTo>
                  <a:lnTo>
                    <a:pt x="8" y="13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1" name="Freeform 88"/>
            <p:cNvSpPr>
              <a:spLocks noEditPoints="1"/>
            </p:cNvSpPr>
            <p:nvPr/>
          </p:nvSpPr>
          <p:spPr bwMode="auto">
            <a:xfrm>
              <a:off x="6384925" y="868363"/>
              <a:ext cx="92075" cy="152400"/>
            </a:xfrm>
            <a:custGeom>
              <a:avLst/>
              <a:gdLst>
                <a:gd name="T0" fmla="*/ 24 w 24"/>
                <a:gd name="T1" fmla="*/ 12 h 40"/>
                <a:gd name="T2" fmla="*/ 12 w 24"/>
                <a:gd name="T3" fmla="*/ 0 h 40"/>
                <a:gd name="T4" fmla="*/ 0 w 24"/>
                <a:gd name="T5" fmla="*/ 12 h 40"/>
                <a:gd name="T6" fmla="*/ 8 w 24"/>
                <a:gd name="T7" fmla="*/ 23 h 40"/>
                <a:gd name="T8" fmla="*/ 8 w 24"/>
                <a:gd name="T9" fmla="*/ 40 h 40"/>
                <a:gd name="T10" fmla="*/ 16 w 24"/>
                <a:gd name="T11" fmla="*/ 40 h 40"/>
                <a:gd name="T12" fmla="*/ 16 w 24"/>
                <a:gd name="T13" fmla="*/ 23 h 40"/>
                <a:gd name="T14" fmla="*/ 24 w 24"/>
                <a:gd name="T15" fmla="*/ 12 h 40"/>
                <a:gd name="T16" fmla="*/ 12 w 24"/>
                <a:gd name="T17" fmla="*/ 16 h 40"/>
                <a:gd name="T18" fmla="*/ 8 w 24"/>
                <a:gd name="T19" fmla="*/ 12 h 40"/>
                <a:gd name="T20" fmla="*/ 12 w 24"/>
                <a:gd name="T21" fmla="*/ 8 h 40"/>
                <a:gd name="T22" fmla="*/ 16 w 24"/>
                <a:gd name="T23" fmla="*/ 12 h 40"/>
                <a:gd name="T24" fmla="*/ 12 w 24"/>
                <a:gd name="T25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" h="40">
                  <a:moveTo>
                    <a:pt x="24" y="12"/>
                  </a:moveTo>
                  <a:cubicBezTo>
                    <a:pt x="24" y="5"/>
                    <a:pt x="19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17"/>
                    <a:pt x="3" y="22"/>
                    <a:pt x="8" y="23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21" y="22"/>
                    <a:pt x="24" y="17"/>
                    <a:pt x="24" y="12"/>
                  </a:cubicBezTo>
                  <a:close/>
                  <a:moveTo>
                    <a:pt x="12" y="16"/>
                  </a:moveTo>
                  <a:cubicBezTo>
                    <a:pt x="10" y="16"/>
                    <a:pt x="8" y="14"/>
                    <a:pt x="8" y="12"/>
                  </a:cubicBezTo>
                  <a:cubicBezTo>
                    <a:pt x="8" y="10"/>
                    <a:pt x="10" y="8"/>
                    <a:pt x="12" y="8"/>
                  </a:cubicBezTo>
                  <a:cubicBezTo>
                    <a:pt x="14" y="8"/>
                    <a:pt x="16" y="10"/>
                    <a:pt x="16" y="12"/>
                  </a:cubicBezTo>
                  <a:cubicBezTo>
                    <a:pt x="16" y="14"/>
                    <a:pt x="14" y="16"/>
                    <a:pt x="12" y="16"/>
                  </a:cubicBezTo>
                  <a:close/>
                </a:path>
              </a:pathLst>
            </a:custGeom>
            <a:solidFill>
              <a:srgbClr val="00B1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610" y="3774072"/>
            <a:ext cx="636191" cy="779721"/>
          </a:xfrm>
          <a:prstGeom prst="rect">
            <a:avLst/>
          </a:prstGeom>
        </p:spPr>
      </p:pic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6168213" y="2902460"/>
            <a:ext cx="615949" cy="847232"/>
            <a:chOff x="5895975" y="3152775"/>
            <a:chExt cx="401638" cy="552450"/>
          </a:xfrm>
        </p:grpSpPr>
        <p:sp>
          <p:nvSpPr>
            <p:cNvPr id="24" name="Freeform 40"/>
            <p:cNvSpPr>
              <a:spLocks/>
            </p:cNvSpPr>
            <p:nvPr/>
          </p:nvSpPr>
          <p:spPr bwMode="auto">
            <a:xfrm>
              <a:off x="6003925" y="3459163"/>
              <a:ext cx="184150" cy="69850"/>
            </a:xfrm>
            <a:custGeom>
              <a:avLst/>
              <a:gdLst>
                <a:gd name="T0" fmla="*/ 7 w 48"/>
                <a:gd name="T1" fmla="*/ 18 h 18"/>
                <a:gd name="T2" fmla="*/ 0 w 48"/>
                <a:gd name="T3" fmla="*/ 14 h 18"/>
                <a:gd name="T4" fmla="*/ 24 w 48"/>
                <a:gd name="T5" fmla="*/ 0 h 18"/>
                <a:gd name="T6" fmla="*/ 48 w 48"/>
                <a:gd name="T7" fmla="*/ 14 h 18"/>
                <a:gd name="T8" fmla="*/ 41 w 48"/>
                <a:gd name="T9" fmla="*/ 18 h 18"/>
                <a:gd name="T10" fmla="*/ 24 w 48"/>
                <a:gd name="T11" fmla="*/ 8 h 18"/>
                <a:gd name="T12" fmla="*/ 7 w 48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8">
                  <a:moveTo>
                    <a:pt x="7" y="18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5" y="5"/>
                    <a:pt x="14" y="0"/>
                    <a:pt x="24" y="0"/>
                  </a:cubicBezTo>
                  <a:cubicBezTo>
                    <a:pt x="34" y="0"/>
                    <a:pt x="43" y="5"/>
                    <a:pt x="48" y="14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38" y="12"/>
                    <a:pt x="31" y="8"/>
                    <a:pt x="24" y="8"/>
                  </a:cubicBezTo>
                  <a:cubicBezTo>
                    <a:pt x="17" y="8"/>
                    <a:pt x="10" y="12"/>
                    <a:pt x="7" y="18"/>
                  </a:cubicBez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25" name="Freeform 41"/>
            <p:cNvSpPr>
              <a:spLocks noEditPoints="1"/>
            </p:cNvSpPr>
            <p:nvPr/>
          </p:nvSpPr>
          <p:spPr bwMode="auto">
            <a:xfrm>
              <a:off x="5895975" y="3152775"/>
              <a:ext cx="401638" cy="552450"/>
            </a:xfrm>
            <a:custGeom>
              <a:avLst/>
              <a:gdLst>
                <a:gd name="T0" fmla="*/ 56 w 104"/>
                <a:gd name="T1" fmla="*/ 29 h 144"/>
                <a:gd name="T2" fmla="*/ 56 w 104"/>
                <a:gd name="T3" fmla="*/ 23 h 144"/>
                <a:gd name="T4" fmla="*/ 64 w 104"/>
                <a:gd name="T5" fmla="*/ 12 h 144"/>
                <a:gd name="T6" fmla="*/ 52 w 104"/>
                <a:gd name="T7" fmla="*/ 0 h 144"/>
                <a:gd name="T8" fmla="*/ 40 w 104"/>
                <a:gd name="T9" fmla="*/ 12 h 144"/>
                <a:gd name="T10" fmla="*/ 48 w 104"/>
                <a:gd name="T11" fmla="*/ 23 h 144"/>
                <a:gd name="T12" fmla="*/ 48 w 104"/>
                <a:gd name="T13" fmla="*/ 29 h 144"/>
                <a:gd name="T14" fmla="*/ 0 w 104"/>
                <a:gd name="T15" fmla="*/ 81 h 144"/>
                <a:gd name="T16" fmla="*/ 0 w 104"/>
                <a:gd name="T17" fmla="*/ 121 h 144"/>
                <a:gd name="T18" fmla="*/ 3 w 104"/>
                <a:gd name="T19" fmla="*/ 122 h 144"/>
                <a:gd name="T20" fmla="*/ 27 w 104"/>
                <a:gd name="T21" fmla="*/ 128 h 144"/>
                <a:gd name="T22" fmla="*/ 52 w 104"/>
                <a:gd name="T23" fmla="*/ 144 h 144"/>
                <a:gd name="T24" fmla="*/ 77 w 104"/>
                <a:gd name="T25" fmla="*/ 128 h 144"/>
                <a:gd name="T26" fmla="*/ 101 w 104"/>
                <a:gd name="T27" fmla="*/ 122 h 144"/>
                <a:gd name="T28" fmla="*/ 104 w 104"/>
                <a:gd name="T29" fmla="*/ 121 h 144"/>
                <a:gd name="T30" fmla="*/ 104 w 104"/>
                <a:gd name="T31" fmla="*/ 81 h 144"/>
                <a:gd name="T32" fmla="*/ 56 w 104"/>
                <a:gd name="T33" fmla="*/ 29 h 144"/>
                <a:gd name="T34" fmla="*/ 52 w 104"/>
                <a:gd name="T35" fmla="*/ 8 h 144"/>
                <a:gd name="T36" fmla="*/ 56 w 104"/>
                <a:gd name="T37" fmla="*/ 12 h 144"/>
                <a:gd name="T38" fmla="*/ 52 w 104"/>
                <a:gd name="T39" fmla="*/ 16 h 144"/>
                <a:gd name="T40" fmla="*/ 48 w 104"/>
                <a:gd name="T41" fmla="*/ 12 h 144"/>
                <a:gd name="T42" fmla="*/ 52 w 104"/>
                <a:gd name="T43" fmla="*/ 8 h 144"/>
                <a:gd name="T44" fmla="*/ 52 w 104"/>
                <a:gd name="T45" fmla="*/ 37 h 144"/>
                <a:gd name="T46" fmla="*/ 96 w 104"/>
                <a:gd name="T47" fmla="*/ 81 h 144"/>
                <a:gd name="T48" fmla="*/ 96 w 104"/>
                <a:gd name="T49" fmla="*/ 99 h 144"/>
                <a:gd name="T50" fmla="*/ 8 w 104"/>
                <a:gd name="T51" fmla="*/ 99 h 144"/>
                <a:gd name="T52" fmla="*/ 8 w 104"/>
                <a:gd name="T53" fmla="*/ 81 h 144"/>
                <a:gd name="T54" fmla="*/ 52 w 104"/>
                <a:gd name="T55" fmla="*/ 37 h 144"/>
                <a:gd name="T56" fmla="*/ 52 w 104"/>
                <a:gd name="T57" fmla="*/ 136 h 144"/>
                <a:gd name="T58" fmla="*/ 37 w 104"/>
                <a:gd name="T59" fmla="*/ 129 h 144"/>
                <a:gd name="T60" fmla="*/ 52 w 104"/>
                <a:gd name="T61" fmla="*/ 130 h 144"/>
                <a:gd name="T62" fmla="*/ 67 w 104"/>
                <a:gd name="T63" fmla="*/ 129 h 144"/>
                <a:gd name="T64" fmla="*/ 52 w 104"/>
                <a:gd name="T65" fmla="*/ 136 h 144"/>
                <a:gd name="T66" fmla="*/ 8 w 104"/>
                <a:gd name="T67" fmla="*/ 115 h 144"/>
                <a:gd name="T68" fmla="*/ 8 w 104"/>
                <a:gd name="T69" fmla="*/ 108 h 144"/>
                <a:gd name="T70" fmla="*/ 52 w 104"/>
                <a:gd name="T71" fmla="*/ 114 h 144"/>
                <a:gd name="T72" fmla="*/ 96 w 104"/>
                <a:gd name="T73" fmla="*/ 108 h 144"/>
                <a:gd name="T74" fmla="*/ 96 w 104"/>
                <a:gd name="T75" fmla="*/ 115 h 144"/>
                <a:gd name="T76" fmla="*/ 8 w 104"/>
                <a:gd name="T77" fmla="*/ 115 h 144"/>
                <a:gd name="T78" fmla="*/ 40 w 104"/>
                <a:gd name="T79" fmla="*/ 72 h 144"/>
                <a:gd name="T80" fmla="*/ 32 w 104"/>
                <a:gd name="T81" fmla="*/ 72 h 144"/>
                <a:gd name="T82" fmla="*/ 32 w 104"/>
                <a:gd name="T83" fmla="*/ 56 h 144"/>
                <a:gd name="T84" fmla="*/ 40 w 104"/>
                <a:gd name="T85" fmla="*/ 56 h 144"/>
                <a:gd name="T86" fmla="*/ 40 w 104"/>
                <a:gd name="T87" fmla="*/ 72 h 144"/>
                <a:gd name="T88" fmla="*/ 72 w 104"/>
                <a:gd name="T89" fmla="*/ 72 h 144"/>
                <a:gd name="T90" fmla="*/ 64 w 104"/>
                <a:gd name="T91" fmla="*/ 72 h 144"/>
                <a:gd name="T92" fmla="*/ 64 w 104"/>
                <a:gd name="T93" fmla="*/ 56 h 144"/>
                <a:gd name="T94" fmla="*/ 72 w 104"/>
                <a:gd name="T95" fmla="*/ 56 h 144"/>
                <a:gd name="T96" fmla="*/ 72 w 104"/>
                <a:gd name="T97" fmla="*/ 7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" h="144">
                  <a:moveTo>
                    <a:pt x="56" y="29"/>
                  </a:moveTo>
                  <a:cubicBezTo>
                    <a:pt x="56" y="23"/>
                    <a:pt x="56" y="23"/>
                    <a:pt x="56" y="23"/>
                  </a:cubicBezTo>
                  <a:cubicBezTo>
                    <a:pt x="61" y="22"/>
                    <a:pt x="64" y="17"/>
                    <a:pt x="64" y="12"/>
                  </a:cubicBezTo>
                  <a:cubicBezTo>
                    <a:pt x="64" y="5"/>
                    <a:pt x="59" y="0"/>
                    <a:pt x="52" y="0"/>
                  </a:cubicBezTo>
                  <a:cubicBezTo>
                    <a:pt x="45" y="0"/>
                    <a:pt x="40" y="5"/>
                    <a:pt x="40" y="12"/>
                  </a:cubicBezTo>
                  <a:cubicBezTo>
                    <a:pt x="40" y="17"/>
                    <a:pt x="43" y="22"/>
                    <a:pt x="48" y="23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21" y="31"/>
                    <a:pt x="0" y="54"/>
                    <a:pt x="0" y="81"/>
                  </a:cubicBezTo>
                  <a:cubicBezTo>
                    <a:pt x="0" y="121"/>
                    <a:pt x="0" y="121"/>
                    <a:pt x="0" y="121"/>
                  </a:cubicBezTo>
                  <a:cubicBezTo>
                    <a:pt x="3" y="122"/>
                    <a:pt x="3" y="122"/>
                    <a:pt x="3" y="122"/>
                  </a:cubicBezTo>
                  <a:cubicBezTo>
                    <a:pt x="11" y="124"/>
                    <a:pt x="19" y="126"/>
                    <a:pt x="27" y="128"/>
                  </a:cubicBezTo>
                  <a:cubicBezTo>
                    <a:pt x="31" y="137"/>
                    <a:pt x="41" y="144"/>
                    <a:pt x="52" y="144"/>
                  </a:cubicBezTo>
                  <a:cubicBezTo>
                    <a:pt x="63" y="144"/>
                    <a:pt x="73" y="137"/>
                    <a:pt x="77" y="128"/>
                  </a:cubicBezTo>
                  <a:cubicBezTo>
                    <a:pt x="85" y="126"/>
                    <a:pt x="93" y="124"/>
                    <a:pt x="101" y="122"/>
                  </a:cubicBezTo>
                  <a:cubicBezTo>
                    <a:pt x="104" y="121"/>
                    <a:pt x="104" y="121"/>
                    <a:pt x="104" y="121"/>
                  </a:cubicBezTo>
                  <a:cubicBezTo>
                    <a:pt x="104" y="81"/>
                    <a:pt x="104" y="81"/>
                    <a:pt x="104" y="81"/>
                  </a:cubicBezTo>
                  <a:cubicBezTo>
                    <a:pt x="104" y="54"/>
                    <a:pt x="83" y="31"/>
                    <a:pt x="56" y="29"/>
                  </a:cubicBezTo>
                  <a:close/>
                  <a:moveTo>
                    <a:pt x="52" y="8"/>
                  </a:moveTo>
                  <a:cubicBezTo>
                    <a:pt x="54" y="8"/>
                    <a:pt x="56" y="10"/>
                    <a:pt x="56" y="12"/>
                  </a:cubicBezTo>
                  <a:cubicBezTo>
                    <a:pt x="56" y="14"/>
                    <a:pt x="54" y="16"/>
                    <a:pt x="52" y="16"/>
                  </a:cubicBezTo>
                  <a:cubicBezTo>
                    <a:pt x="50" y="16"/>
                    <a:pt x="48" y="14"/>
                    <a:pt x="48" y="12"/>
                  </a:cubicBezTo>
                  <a:cubicBezTo>
                    <a:pt x="48" y="10"/>
                    <a:pt x="50" y="8"/>
                    <a:pt x="52" y="8"/>
                  </a:cubicBezTo>
                  <a:close/>
                  <a:moveTo>
                    <a:pt x="52" y="37"/>
                  </a:moveTo>
                  <a:cubicBezTo>
                    <a:pt x="76" y="37"/>
                    <a:pt x="96" y="57"/>
                    <a:pt x="96" y="81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68" y="108"/>
                    <a:pt x="36" y="108"/>
                    <a:pt x="8" y="99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8" y="57"/>
                    <a:pt x="28" y="37"/>
                    <a:pt x="52" y="37"/>
                  </a:cubicBezTo>
                  <a:close/>
                  <a:moveTo>
                    <a:pt x="52" y="136"/>
                  </a:moveTo>
                  <a:cubicBezTo>
                    <a:pt x="46" y="136"/>
                    <a:pt x="41" y="133"/>
                    <a:pt x="37" y="129"/>
                  </a:cubicBezTo>
                  <a:cubicBezTo>
                    <a:pt x="42" y="130"/>
                    <a:pt x="47" y="130"/>
                    <a:pt x="52" y="130"/>
                  </a:cubicBezTo>
                  <a:cubicBezTo>
                    <a:pt x="57" y="130"/>
                    <a:pt x="62" y="130"/>
                    <a:pt x="67" y="129"/>
                  </a:cubicBezTo>
                  <a:cubicBezTo>
                    <a:pt x="63" y="133"/>
                    <a:pt x="58" y="136"/>
                    <a:pt x="52" y="136"/>
                  </a:cubicBezTo>
                  <a:close/>
                  <a:moveTo>
                    <a:pt x="8" y="115"/>
                  </a:moveTo>
                  <a:cubicBezTo>
                    <a:pt x="8" y="108"/>
                    <a:pt x="8" y="108"/>
                    <a:pt x="8" y="108"/>
                  </a:cubicBezTo>
                  <a:cubicBezTo>
                    <a:pt x="22" y="112"/>
                    <a:pt x="37" y="114"/>
                    <a:pt x="52" y="114"/>
                  </a:cubicBezTo>
                  <a:cubicBezTo>
                    <a:pt x="67" y="114"/>
                    <a:pt x="82" y="112"/>
                    <a:pt x="96" y="108"/>
                  </a:cubicBezTo>
                  <a:cubicBezTo>
                    <a:pt x="96" y="115"/>
                    <a:pt x="96" y="115"/>
                    <a:pt x="96" y="115"/>
                  </a:cubicBezTo>
                  <a:cubicBezTo>
                    <a:pt x="67" y="124"/>
                    <a:pt x="37" y="124"/>
                    <a:pt x="8" y="115"/>
                  </a:cubicBezTo>
                  <a:close/>
                  <a:moveTo>
                    <a:pt x="40" y="72"/>
                  </a:moveTo>
                  <a:cubicBezTo>
                    <a:pt x="32" y="72"/>
                    <a:pt x="32" y="72"/>
                    <a:pt x="32" y="72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40" y="56"/>
                    <a:pt x="40" y="56"/>
                    <a:pt x="40" y="56"/>
                  </a:cubicBezTo>
                  <a:lnTo>
                    <a:pt x="40" y="72"/>
                  </a:lnTo>
                  <a:close/>
                  <a:moveTo>
                    <a:pt x="72" y="72"/>
                  </a:moveTo>
                  <a:cubicBezTo>
                    <a:pt x="64" y="72"/>
                    <a:pt x="64" y="72"/>
                    <a:pt x="64" y="72"/>
                  </a:cubicBezTo>
                  <a:cubicBezTo>
                    <a:pt x="64" y="56"/>
                    <a:pt x="64" y="56"/>
                    <a:pt x="64" y="56"/>
                  </a:cubicBezTo>
                  <a:cubicBezTo>
                    <a:pt x="72" y="56"/>
                    <a:pt x="72" y="56"/>
                    <a:pt x="72" y="56"/>
                  </a:cubicBezTo>
                  <a:lnTo>
                    <a:pt x="72" y="7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3352" y="3861832"/>
            <a:ext cx="797910" cy="837092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1909261" y="2305760"/>
            <a:ext cx="1015919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350" b="1" dirty="0"/>
              <a:t>Задержки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886818" y="3107089"/>
            <a:ext cx="128644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b="1" dirty="0"/>
              <a:t>Полоса</a:t>
            </a:r>
          </a:p>
          <a:p>
            <a:pPr algn="ctr"/>
            <a:r>
              <a:rPr lang="ru-RU" sz="1350" b="1" dirty="0"/>
              <a:t>пропускания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142015" y="3805569"/>
            <a:ext cx="909224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350" b="1" dirty="0"/>
              <a:t>Затраты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783423" y="2279316"/>
            <a:ext cx="1367490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b="1" dirty="0"/>
              <a:t>Угрозы</a:t>
            </a:r>
          </a:p>
          <a:p>
            <a:r>
              <a:rPr lang="ru-RU" sz="1350" b="1" dirty="0"/>
              <a:t>безопасности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896691" y="4097733"/>
            <a:ext cx="1141082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b="1" dirty="0"/>
              <a:t>Дубликаты</a:t>
            </a:r>
          </a:p>
          <a:p>
            <a:r>
              <a:rPr lang="ru-RU" sz="1350" b="1" dirty="0"/>
              <a:t>данных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843214" y="3228220"/>
            <a:ext cx="843501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b="1" dirty="0"/>
              <a:t>Порча</a:t>
            </a:r>
          </a:p>
          <a:p>
            <a:r>
              <a:rPr lang="ru-RU" sz="1350" b="1" dirty="0"/>
              <a:t>данных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843216" y="4165207"/>
            <a:ext cx="1290033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350" b="1" dirty="0"/>
              <a:t>Требования</a:t>
            </a:r>
          </a:p>
          <a:p>
            <a:pPr algn="ctr"/>
            <a:r>
              <a:rPr lang="ru-RU" sz="1350" b="1" dirty="0"/>
              <a:t>регуляторов</a:t>
            </a:r>
          </a:p>
        </p:txBody>
      </p:sp>
    </p:spTree>
    <p:extLst>
      <p:ext uri="{BB962C8B-B14F-4D97-AF65-F5344CB8AC3E}">
        <p14:creationId xmlns:p14="http://schemas.microsoft.com/office/powerpoint/2010/main" val="280225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3635" y="2588712"/>
            <a:ext cx="526805" cy="52680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316233" y="2294977"/>
            <a:ext cx="1392957" cy="1306247"/>
          </a:xfrm>
          <a:prstGeom prst="rect">
            <a:avLst/>
          </a:prstGeom>
          <a:solidFill>
            <a:schemeClr val="bg1"/>
          </a:solidFill>
          <a:ln w="50800" cap="flat" cmpd="sng" algn="ctr">
            <a:solidFill>
              <a:schemeClr val="accent6"/>
            </a:solidFill>
            <a:prstDash val="solid"/>
            <a:miter lim="800000"/>
          </a:ln>
          <a:effectLst/>
        </p:spPr>
        <p:txBody>
          <a:bodyPr lIns="68571" tIns="34286" rIns="68571" bIns="34286" rtlCol="0" anchor="ctr"/>
          <a:lstStyle/>
          <a:p>
            <a:pPr marL="5198223" algn="ctr">
              <a:defRPr/>
            </a:pPr>
            <a:endParaRPr lang="en-US" sz="900" kern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 smtClean="0"/>
              <a:t>Цифровизация</a:t>
            </a:r>
            <a:r>
              <a:rPr lang="ru-RU" dirty="0" smtClean="0"/>
              <a:t> и промышленный Интернет вещей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Трансформация предприятий</a:t>
            </a:r>
            <a:endParaRPr lang="en-US" dirty="0"/>
          </a:p>
        </p:txBody>
      </p:sp>
      <p:sp>
        <p:nvSpPr>
          <p:cNvPr id="63" name="TextBox 62"/>
          <p:cNvSpPr txBox="1"/>
          <p:nvPr/>
        </p:nvSpPr>
        <p:spPr>
          <a:xfrm>
            <a:off x="3561963" y="1978847"/>
            <a:ext cx="33805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ea typeface="MS PGothic" pitchFamily="34" charset="-128"/>
              </a:rPr>
              <a:t>Уровень</a:t>
            </a:r>
            <a:r>
              <a:rPr lang="en-US" sz="1200" b="1" dirty="0">
                <a:solidFill>
                  <a:prstClr val="black"/>
                </a:solidFill>
                <a:ea typeface="MS PGothic" pitchFamily="34" charset="-128"/>
              </a:rPr>
              <a:t> 2</a:t>
            </a:r>
            <a:r>
              <a:rPr lang="ru-RU" sz="1200" b="1" dirty="0">
                <a:solidFill>
                  <a:prstClr val="black"/>
                </a:solidFill>
                <a:ea typeface="MS PGothic" pitchFamily="34" charset="-128"/>
              </a:rPr>
              <a:t>-3</a:t>
            </a:r>
            <a:r>
              <a:rPr lang="en-US" sz="1200" b="1" dirty="0">
                <a:solidFill>
                  <a:prstClr val="black"/>
                </a:solidFill>
                <a:ea typeface="MS PGothic" pitchFamily="34" charset="-128"/>
              </a:rPr>
              <a:t> 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7268897" y="1978847"/>
            <a:ext cx="14156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ea typeface="MS PGothic" pitchFamily="34" charset="-128"/>
              </a:rPr>
              <a:t>Уровень </a:t>
            </a:r>
            <a:r>
              <a:rPr lang="en-US" sz="1200" b="1" dirty="0">
                <a:solidFill>
                  <a:prstClr val="black"/>
                </a:solidFill>
                <a:ea typeface="MS PGothic" pitchFamily="34" charset="-128"/>
              </a:rPr>
              <a:t>4 </a:t>
            </a:r>
          </a:p>
        </p:txBody>
      </p:sp>
      <p:sp>
        <p:nvSpPr>
          <p:cNvPr id="66" name="Rectangle 65"/>
          <p:cNvSpPr/>
          <p:nvPr/>
        </p:nvSpPr>
        <p:spPr bwMode="ltGray">
          <a:xfrm>
            <a:off x="316233" y="3011833"/>
            <a:ext cx="1392958" cy="490511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prstClr val="black"/>
                </a:solidFill>
              </a:rPr>
              <a:t>“</a:t>
            </a:r>
            <a:r>
              <a:rPr lang="ru-RU" sz="1050" b="1" dirty="0">
                <a:solidFill>
                  <a:prstClr val="black"/>
                </a:solidFill>
              </a:rPr>
              <a:t>Вещи</a:t>
            </a:r>
            <a:r>
              <a:rPr lang="en-US" sz="1050" b="1" dirty="0">
                <a:solidFill>
                  <a:prstClr val="black"/>
                </a:solidFill>
              </a:rPr>
              <a:t>” </a:t>
            </a:r>
            <a:r>
              <a:rPr lang="ru-RU" sz="1050" b="1" dirty="0">
                <a:solidFill>
                  <a:prstClr val="black"/>
                </a:solidFill>
              </a:rPr>
              <a:t>– промышленное оборудование и работники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68" name="Rectangle 67"/>
          <p:cNvSpPr/>
          <p:nvPr/>
        </p:nvSpPr>
        <p:spPr bwMode="ltGray">
          <a:xfrm>
            <a:off x="3530482" y="2292211"/>
            <a:ext cx="3441254" cy="1309014"/>
          </a:xfrm>
          <a:prstGeom prst="rect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500" dirty="0"/>
          </a:p>
        </p:txBody>
      </p:sp>
      <p:sp>
        <p:nvSpPr>
          <p:cNvPr id="74" name="Rectangle 73"/>
          <p:cNvSpPr/>
          <p:nvPr/>
        </p:nvSpPr>
        <p:spPr bwMode="ltGray">
          <a:xfrm>
            <a:off x="7245188" y="2292211"/>
            <a:ext cx="1498455" cy="1298375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500" dirty="0"/>
          </a:p>
        </p:txBody>
      </p:sp>
      <p:sp>
        <p:nvSpPr>
          <p:cNvPr id="76" name="Rectangle 75"/>
          <p:cNvSpPr/>
          <p:nvPr/>
        </p:nvSpPr>
        <p:spPr>
          <a:xfrm>
            <a:off x="7238702" y="3045150"/>
            <a:ext cx="1498456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/>
              <a:t>Бизнес-приложения в ЦОД и «облаках»</a:t>
            </a:r>
            <a:endParaRPr lang="en-US" sz="1050" b="1" dirty="0"/>
          </a:p>
        </p:txBody>
      </p:sp>
      <p:sp>
        <p:nvSpPr>
          <p:cNvPr id="80" name="Rectangle 79"/>
          <p:cNvSpPr/>
          <p:nvPr/>
        </p:nvSpPr>
        <p:spPr bwMode="ltGray">
          <a:xfrm>
            <a:off x="316231" y="2302850"/>
            <a:ext cx="2947868" cy="1298375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500" dirty="0"/>
          </a:p>
        </p:txBody>
      </p:sp>
      <p:sp>
        <p:nvSpPr>
          <p:cNvPr id="81" name="Rectangle 80"/>
          <p:cNvSpPr/>
          <p:nvPr/>
        </p:nvSpPr>
        <p:spPr>
          <a:xfrm>
            <a:off x="338908" y="3357496"/>
            <a:ext cx="2917232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/>
              <a:t>Умное производство</a:t>
            </a:r>
            <a:endParaRPr lang="en-US" sz="1050" b="1" dirty="0"/>
          </a:p>
        </p:txBody>
      </p:sp>
      <p:sp>
        <p:nvSpPr>
          <p:cNvPr id="87" name="Rectangle 86"/>
          <p:cNvSpPr/>
          <p:nvPr/>
        </p:nvSpPr>
        <p:spPr>
          <a:xfrm>
            <a:off x="3561966" y="3176476"/>
            <a:ext cx="338051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b="1" dirty="0"/>
              <a:t>Промышленные конвергентные системы и приложения с машинным обучением</a:t>
            </a:r>
            <a:endParaRPr lang="en-US" sz="1050" b="1" dirty="0"/>
          </a:p>
        </p:txBody>
      </p:sp>
      <p:sp>
        <p:nvSpPr>
          <p:cNvPr id="92" name="Left-Right Arrow 91"/>
          <p:cNvSpPr/>
          <p:nvPr/>
        </p:nvSpPr>
        <p:spPr bwMode="ltGray">
          <a:xfrm>
            <a:off x="219174" y="3799211"/>
            <a:ext cx="8625526" cy="641070"/>
          </a:xfrm>
          <a:prstGeom prst="leftRightArrow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schemeClr val="tx1"/>
                </a:solidFill>
              </a:rPr>
              <a:t>Сквозное цифровое управление</a:t>
            </a:r>
            <a:endParaRPr lang="en-US" sz="1050" b="1" dirty="0">
              <a:solidFill>
                <a:schemeClr val="tx1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16232" y="2019546"/>
            <a:ext cx="29193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prstClr val="black"/>
                </a:solidFill>
                <a:ea typeface="MS PGothic" pitchFamily="34" charset="-128"/>
              </a:rPr>
              <a:t>Уровень </a:t>
            </a:r>
            <a:r>
              <a:rPr lang="en-US" sz="1200" b="1" dirty="0">
                <a:solidFill>
                  <a:prstClr val="black"/>
                </a:solidFill>
                <a:ea typeface="MS PGothic" pitchFamily="34" charset="-128"/>
              </a:rPr>
              <a:t> 0</a:t>
            </a:r>
            <a:r>
              <a:rPr lang="ru-RU" sz="1200" b="1" dirty="0">
                <a:solidFill>
                  <a:prstClr val="black"/>
                </a:solidFill>
                <a:ea typeface="MS PGothic" pitchFamily="34" charset="-128"/>
              </a:rPr>
              <a:t>-1</a:t>
            </a:r>
            <a:r>
              <a:rPr lang="en-US" sz="1200" b="1" dirty="0">
                <a:solidFill>
                  <a:prstClr val="black"/>
                </a:solidFill>
                <a:ea typeface="MS PGothic" pitchFamily="34" charset="-128"/>
              </a:rPr>
              <a:t> </a:t>
            </a:r>
          </a:p>
        </p:txBody>
      </p:sp>
      <p:sp>
        <p:nvSpPr>
          <p:cNvPr id="97" name="Rectangle 96"/>
          <p:cNvSpPr/>
          <p:nvPr/>
        </p:nvSpPr>
        <p:spPr bwMode="ltGray">
          <a:xfrm>
            <a:off x="7254146" y="3616810"/>
            <a:ext cx="1498456" cy="21076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prstClr val="black"/>
                </a:solidFill>
              </a:rPr>
              <a:t>Знания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98" name="Rectangle 97"/>
          <p:cNvSpPr/>
          <p:nvPr/>
        </p:nvSpPr>
        <p:spPr bwMode="ltGray">
          <a:xfrm>
            <a:off x="5403618" y="3616809"/>
            <a:ext cx="1538858" cy="20960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prstClr val="black"/>
                </a:solidFill>
              </a:rPr>
              <a:t>Информация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99" name="Rectangle 98"/>
          <p:cNvSpPr/>
          <p:nvPr/>
        </p:nvSpPr>
        <p:spPr bwMode="ltGray">
          <a:xfrm>
            <a:off x="3549208" y="3611996"/>
            <a:ext cx="1538273" cy="2144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prstClr val="black"/>
                </a:solidFill>
              </a:rPr>
              <a:t>Данные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100" name="Rectangle 99"/>
          <p:cNvSpPr/>
          <p:nvPr/>
        </p:nvSpPr>
        <p:spPr bwMode="ltGray">
          <a:xfrm>
            <a:off x="2100969" y="3611996"/>
            <a:ext cx="1171922" cy="2144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prstClr val="black"/>
                </a:solidFill>
              </a:rPr>
              <a:t>Сигналы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101" name="Rectangle 100"/>
          <p:cNvSpPr/>
          <p:nvPr/>
        </p:nvSpPr>
        <p:spPr bwMode="ltGray">
          <a:xfrm>
            <a:off x="333273" y="3598260"/>
            <a:ext cx="1692053" cy="22815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prstClr val="black"/>
                </a:solidFill>
              </a:rPr>
              <a:t>Действия и состояния</a:t>
            </a:r>
            <a:endParaRPr lang="en-US" sz="1050" b="1" dirty="0">
              <a:solidFill>
                <a:prstClr val="black"/>
              </a:solidFill>
            </a:endParaRPr>
          </a:p>
        </p:txBody>
      </p:sp>
      <p:grpSp>
        <p:nvGrpSpPr>
          <p:cNvPr id="38" name="Group 37"/>
          <p:cNvGrpSpPr>
            <a:grpSpLocks/>
          </p:cNvGrpSpPr>
          <p:nvPr/>
        </p:nvGrpSpPr>
        <p:grpSpPr>
          <a:xfrm>
            <a:off x="7350562" y="2418261"/>
            <a:ext cx="726758" cy="292417"/>
            <a:chOff x="0" y="0"/>
            <a:chExt cx="5038725" cy="2111375"/>
          </a:xfrm>
        </p:grpSpPr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0" y="0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0" y="822325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grpSp>
        <p:nvGrpSpPr>
          <p:cNvPr id="41" name="Group 40"/>
          <p:cNvGrpSpPr>
            <a:grpSpLocks/>
          </p:cNvGrpSpPr>
          <p:nvPr/>
        </p:nvGrpSpPr>
        <p:grpSpPr>
          <a:xfrm>
            <a:off x="3844051" y="2621031"/>
            <a:ext cx="726758" cy="292417"/>
            <a:chOff x="0" y="0"/>
            <a:chExt cx="5038725" cy="2111375"/>
          </a:xfrm>
        </p:grpSpPr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0" y="0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0" y="822325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pic>
        <p:nvPicPr>
          <p:cNvPr id="44" name="Picture 4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787" y="2898021"/>
            <a:ext cx="998885" cy="252515"/>
          </a:xfrm>
          <a:prstGeom prst="rect">
            <a:avLst/>
          </a:prstGeom>
        </p:spPr>
      </p:pic>
      <p:pic>
        <p:nvPicPr>
          <p:cNvPr id="45" name="Picture 44" descr="http://tstf.co/blog/wp-content/uploads/2014/01/PTC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78778" y="2900478"/>
            <a:ext cx="484881" cy="218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9202" y="2824183"/>
            <a:ext cx="327443" cy="326354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7"/>
          <a:srcRect r="3778"/>
          <a:stretch/>
        </p:blipFill>
        <p:spPr>
          <a:xfrm>
            <a:off x="4278952" y="2377238"/>
            <a:ext cx="694705" cy="265261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3487" y="2409432"/>
            <a:ext cx="253988" cy="253144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8512" y="2763511"/>
            <a:ext cx="335545" cy="171128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51" t="22778" r="15234" b="25000"/>
          <a:stretch/>
        </p:blipFill>
        <p:spPr>
          <a:xfrm>
            <a:off x="1652275" y="2594295"/>
            <a:ext cx="448694" cy="213494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0566" y="2387701"/>
            <a:ext cx="868181" cy="319115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9450" y="2435668"/>
            <a:ext cx="576165" cy="576165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1206" y="2435668"/>
            <a:ext cx="998885" cy="252515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51" t="22778" r="15234" b="25000"/>
          <a:stretch/>
        </p:blipFill>
        <p:spPr>
          <a:xfrm>
            <a:off x="7865333" y="2674152"/>
            <a:ext cx="326657" cy="155427"/>
          </a:xfrm>
          <a:prstGeom prst="rect">
            <a:avLst/>
          </a:prstGeom>
        </p:spPr>
      </p:pic>
      <p:pic>
        <p:nvPicPr>
          <p:cNvPr id="1026" name="Picture 2" descr="cid:image002.png@01CE87B7.9BAA578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1120" y="2734920"/>
            <a:ext cx="842929" cy="23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" name="Picture 2" descr="cid:image002.png@01CE87B7.9BAA578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5008" y="2903703"/>
            <a:ext cx="716981" cy="201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5" name="Group 54"/>
          <p:cNvGrpSpPr>
            <a:grpSpLocks noChangeAspect="1"/>
          </p:cNvGrpSpPr>
          <p:nvPr/>
        </p:nvGrpSpPr>
        <p:grpSpPr>
          <a:xfrm>
            <a:off x="7583141" y="4606342"/>
            <a:ext cx="822549" cy="822549"/>
            <a:chOff x="-6864999" y="-5029200"/>
            <a:chExt cx="9926637" cy="9926638"/>
          </a:xfrm>
        </p:grpSpPr>
        <p:sp>
          <p:nvSpPr>
            <p:cNvPr id="58" name="Freeform 5"/>
            <p:cNvSpPr>
              <a:spLocks noEditPoints="1"/>
            </p:cNvSpPr>
            <p:nvPr/>
          </p:nvSpPr>
          <p:spPr bwMode="auto">
            <a:xfrm>
              <a:off x="-6864999" y="-5029200"/>
              <a:ext cx="9926637" cy="9926638"/>
            </a:xfrm>
            <a:custGeom>
              <a:avLst/>
              <a:gdLst>
                <a:gd name="T0" fmla="*/ 511 w 780"/>
                <a:gd name="T1" fmla="*/ 217 h 780"/>
                <a:gd name="T2" fmla="*/ 557 w 780"/>
                <a:gd name="T3" fmla="*/ 224 h 780"/>
                <a:gd name="T4" fmla="*/ 282 w 780"/>
                <a:gd name="T5" fmla="*/ 0 h 780"/>
                <a:gd name="T6" fmla="*/ 0 w 780"/>
                <a:gd name="T7" fmla="*/ 282 h 780"/>
                <a:gd name="T8" fmla="*/ 224 w 780"/>
                <a:gd name="T9" fmla="*/ 557 h 780"/>
                <a:gd name="T10" fmla="*/ 218 w 780"/>
                <a:gd name="T11" fmla="*/ 511 h 780"/>
                <a:gd name="T12" fmla="*/ 70 w 780"/>
                <a:gd name="T13" fmla="*/ 390 h 780"/>
                <a:gd name="T14" fmla="*/ 150 w 780"/>
                <a:gd name="T15" fmla="*/ 390 h 780"/>
                <a:gd name="T16" fmla="*/ 217 w 780"/>
                <a:gd name="T17" fmla="*/ 509 h 780"/>
                <a:gd name="T18" fmla="*/ 217 w 780"/>
                <a:gd name="T19" fmla="*/ 494 h 780"/>
                <a:gd name="T20" fmla="*/ 222 w 780"/>
                <a:gd name="T21" fmla="*/ 443 h 780"/>
                <a:gd name="T22" fmla="*/ 195 w 780"/>
                <a:gd name="T23" fmla="*/ 390 h 780"/>
                <a:gd name="T24" fmla="*/ 237 w 780"/>
                <a:gd name="T25" fmla="*/ 390 h 780"/>
                <a:gd name="T26" fmla="*/ 259 w 780"/>
                <a:gd name="T27" fmla="*/ 347 h 780"/>
                <a:gd name="T28" fmla="*/ 182 w 780"/>
                <a:gd name="T29" fmla="*/ 347 h 780"/>
                <a:gd name="T30" fmla="*/ 175 w 780"/>
                <a:gd name="T31" fmla="*/ 282 h 780"/>
                <a:gd name="T32" fmla="*/ 182 w 780"/>
                <a:gd name="T33" fmla="*/ 217 h 780"/>
                <a:gd name="T34" fmla="*/ 261 w 780"/>
                <a:gd name="T35" fmla="*/ 217 h 780"/>
                <a:gd name="T36" fmla="*/ 261 w 780"/>
                <a:gd name="T37" fmla="*/ 344 h 780"/>
                <a:gd name="T38" fmla="*/ 304 w 780"/>
                <a:gd name="T39" fmla="*/ 292 h 780"/>
                <a:gd name="T40" fmla="*/ 304 w 780"/>
                <a:gd name="T41" fmla="*/ 217 h 780"/>
                <a:gd name="T42" fmla="*/ 511 w 780"/>
                <a:gd name="T43" fmla="*/ 217 h 780"/>
                <a:gd name="T44" fmla="*/ 494 w 780"/>
                <a:gd name="T45" fmla="*/ 173 h 780"/>
                <a:gd name="T46" fmla="*/ 415 w 780"/>
                <a:gd name="T47" fmla="*/ 173 h 780"/>
                <a:gd name="T48" fmla="*/ 347 w 780"/>
                <a:gd name="T49" fmla="*/ 53 h 780"/>
                <a:gd name="T50" fmla="*/ 494 w 780"/>
                <a:gd name="T51" fmla="*/ 173 h 780"/>
                <a:gd name="T52" fmla="*/ 304 w 780"/>
                <a:gd name="T53" fmla="*/ 71 h 780"/>
                <a:gd name="T54" fmla="*/ 370 w 780"/>
                <a:gd name="T55" fmla="*/ 173 h 780"/>
                <a:gd name="T56" fmla="*/ 304 w 780"/>
                <a:gd name="T57" fmla="*/ 173 h 780"/>
                <a:gd name="T58" fmla="*/ 304 w 780"/>
                <a:gd name="T59" fmla="*/ 71 h 780"/>
                <a:gd name="T60" fmla="*/ 261 w 780"/>
                <a:gd name="T61" fmla="*/ 173 h 780"/>
                <a:gd name="T62" fmla="*/ 195 w 780"/>
                <a:gd name="T63" fmla="*/ 173 h 780"/>
                <a:gd name="T64" fmla="*/ 261 w 780"/>
                <a:gd name="T65" fmla="*/ 71 h 780"/>
                <a:gd name="T66" fmla="*/ 261 w 780"/>
                <a:gd name="T67" fmla="*/ 173 h 780"/>
                <a:gd name="T68" fmla="*/ 219 w 780"/>
                <a:gd name="T69" fmla="*/ 52 h 780"/>
                <a:gd name="T70" fmla="*/ 150 w 780"/>
                <a:gd name="T71" fmla="*/ 173 h 780"/>
                <a:gd name="T72" fmla="*/ 70 w 780"/>
                <a:gd name="T73" fmla="*/ 173 h 780"/>
                <a:gd name="T74" fmla="*/ 219 w 780"/>
                <a:gd name="T75" fmla="*/ 52 h 780"/>
                <a:gd name="T76" fmla="*/ 43 w 780"/>
                <a:gd name="T77" fmla="*/ 282 h 780"/>
                <a:gd name="T78" fmla="*/ 53 w 780"/>
                <a:gd name="T79" fmla="*/ 217 h 780"/>
                <a:gd name="T80" fmla="*/ 139 w 780"/>
                <a:gd name="T81" fmla="*/ 217 h 780"/>
                <a:gd name="T82" fmla="*/ 132 w 780"/>
                <a:gd name="T83" fmla="*/ 282 h 780"/>
                <a:gd name="T84" fmla="*/ 139 w 780"/>
                <a:gd name="T85" fmla="*/ 347 h 780"/>
                <a:gd name="T86" fmla="*/ 53 w 780"/>
                <a:gd name="T87" fmla="*/ 347 h 780"/>
                <a:gd name="T88" fmla="*/ 43 w 780"/>
                <a:gd name="T89" fmla="*/ 282 h 780"/>
                <a:gd name="T90" fmla="*/ 780 w 780"/>
                <a:gd name="T91" fmla="*/ 749 h 780"/>
                <a:gd name="T92" fmla="*/ 673 w 780"/>
                <a:gd name="T93" fmla="*/ 643 h 780"/>
                <a:gd name="T94" fmla="*/ 727 w 780"/>
                <a:gd name="T95" fmla="*/ 494 h 780"/>
                <a:gd name="T96" fmla="*/ 494 w 780"/>
                <a:gd name="T97" fmla="*/ 260 h 780"/>
                <a:gd name="T98" fmla="*/ 260 w 780"/>
                <a:gd name="T99" fmla="*/ 494 h 780"/>
                <a:gd name="T100" fmla="*/ 494 w 780"/>
                <a:gd name="T101" fmla="*/ 727 h 780"/>
                <a:gd name="T102" fmla="*/ 643 w 780"/>
                <a:gd name="T103" fmla="*/ 673 h 780"/>
                <a:gd name="T104" fmla="*/ 749 w 780"/>
                <a:gd name="T105" fmla="*/ 780 h 780"/>
                <a:gd name="T106" fmla="*/ 780 w 780"/>
                <a:gd name="T107" fmla="*/ 749 h 780"/>
                <a:gd name="T108" fmla="*/ 303 w 780"/>
                <a:gd name="T109" fmla="*/ 494 h 780"/>
                <a:gd name="T110" fmla="*/ 494 w 780"/>
                <a:gd name="T111" fmla="*/ 303 h 780"/>
                <a:gd name="T112" fmla="*/ 684 w 780"/>
                <a:gd name="T113" fmla="*/ 494 h 780"/>
                <a:gd name="T114" fmla="*/ 494 w 780"/>
                <a:gd name="T115" fmla="*/ 684 h 780"/>
                <a:gd name="T116" fmla="*/ 303 w 780"/>
                <a:gd name="T117" fmla="*/ 494 h 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80" h="780">
                  <a:moveTo>
                    <a:pt x="511" y="217"/>
                  </a:moveTo>
                  <a:cubicBezTo>
                    <a:pt x="527" y="218"/>
                    <a:pt x="542" y="221"/>
                    <a:pt x="557" y="224"/>
                  </a:cubicBezTo>
                  <a:cubicBezTo>
                    <a:pt x="531" y="96"/>
                    <a:pt x="417" y="0"/>
                    <a:pt x="282" y="0"/>
                  </a:cubicBezTo>
                  <a:cubicBezTo>
                    <a:pt x="126" y="0"/>
                    <a:pt x="0" y="126"/>
                    <a:pt x="0" y="282"/>
                  </a:cubicBezTo>
                  <a:cubicBezTo>
                    <a:pt x="0" y="417"/>
                    <a:pt x="96" y="531"/>
                    <a:pt x="224" y="557"/>
                  </a:cubicBezTo>
                  <a:cubicBezTo>
                    <a:pt x="221" y="542"/>
                    <a:pt x="219" y="527"/>
                    <a:pt x="218" y="511"/>
                  </a:cubicBezTo>
                  <a:cubicBezTo>
                    <a:pt x="153" y="493"/>
                    <a:pt x="100" y="448"/>
                    <a:pt x="70" y="390"/>
                  </a:cubicBezTo>
                  <a:cubicBezTo>
                    <a:pt x="150" y="390"/>
                    <a:pt x="150" y="390"/>
                    <a:pt x="150" y="390"/>
                  </a:cubicBezTo>
                  <a:cubicBezTo>
                    <a:pt x="164" y="434"/>
                    <a:pt x="187" y="475"/>
                    <a:pt x="217" y="509"/>
                  </a:cubicBezTo>
                  <a:cubicBezTo>
                    <a:pt x="217" y="504"/>
                    <a:pt x="217" y="499"/>
                    <a:pt x="217" y="494"/>
                  </a:cubicBezTo>
                  <a:cubicBezTo>
                    <a:pt x="217" y="476"/>
                    <a:pt x="218" y="459"/>
                    <a:pt x="222" y="443"/>
                  </a:cubicBezTo>
                  <a:cubicBezTo>
                    <a:pt x="211" y="426"/>
                    <a:pt x="202" y="409"/>
                    <a:pt x="195" y="390"/>
                  </a:cubicBezTo>
                  <a:cubicBezTo>
                    <a:pt x="237" y="390"/>
                    <a:pt x="237" y="390"/>
                    <a:pt x="237" y="390"/>
                  </a:cubicBezTo>
                  <a:cubicBezTo>
                    <a:pt x="243" y="375"/>
                    <a:pt x="251" y="360"/>
                    <a:pt x="259" y="347"/>
                  </a:cubicBezTo>
                  <a:cubicBezTo>
                    <a:pt x="182" y="347"/>
                    <a:pt x="182" y="347"/>
                    <a:pt x="182" y="347"/>
                  </a:cubicBezTo>
                  <a:cubicBezTo>
                    <a:pt x="178" y="326"/>
                    <a:pt x="175" y="304"/>
                    <a:pt x="175" y="282"/>
                  </a:cubicBezTo>
                  <a:cubicBezTo>
                    <a:pt x="175" y="260"/>
                    <a:pt x="178" y="238"/>
                    <a:pt x="182" y="217"/>
                  </a:cubicBezTo>
                  <a:cubicBezTo>
                    <a:pt x="261" y="217"/>
                    <a:pt x="261" y="217"/>
                    <a:pt x="261" y="217"/>
                  </a:cubicBezTo>
                  <a:cubicBezTo>
                    <a:pt x="261" y="344"/>
                    <a:pt x="261" y="344"/>
                    <a:pt x="261" y="344"/>
                  </a:cubicBezTo>
                  <a:cubicBezTo>
                    <a:pt x="273" y="325"/>
                    <a:pt x="288" y="308"/>
                    <a:pt x="304" y="292"/>
                  </a:cubicBezTo>
                  <a:cubicBezTo>
                    <a:pt x="304" y="217"/>
                    <a:pt x="304" y="217"/>
                    <a:pt x="304" y="217"/>
                  </a:cubicBezTo>
                  <a:lnTo>
                    <a:pt x="511" y="217"/>
                  </a:lnTo>
                  <a:close/>
                  <a:moveTo>
                    <a:pt x="494" y="173"/>
                  </a:moveTo>
                  <a:cubicBezTo>
                    <a:pt x="415" y="173"/>
                    <a:pt x="415" y="173"/>
                    <a:pt x="415" y="173"/>
                  </a:cubicBezTo>
                  <a:cubicBezTo>
                    <a:pt x="401" y="129"/>
                    <a:pt x="378" y="87"/>
                    <a:pt x="347" y="53"/>
                  </a:cubicBezTo>
                  <a:cubicBezTo>
                    <a:pt x="411" y="71"/>
                    <a:pt x="464" y="115"/>
                    <a:pt x="494" y="173"/>
                  </a:cubicBezTo>
                  <a:close/>
                  <a:moveTo>
                    <a:pt x="304" y="71"/>
                  </a:moveTo>
                  <a:cubicBezTo>
                    <a:pt x="333" y="100"/>
                    <a:pt x="355" y="135"/>
                    <a:pt x="370" y="173"/>
                  </a:cubicBezTo>
                  <a:cubicBezTo>
                    <a:pt x="304" y="173"/>
                    <a:pt x="304" y="173"/>
                    <a:pt x="304" y="173"/>
                  </a:cubicBezTo>
                  <a:lnTo>
                    <a:pt x="304" y="71"/>
                  </a:lnTo>
                  <a:close/>
                  <a:moveTo>
                    <a:pt x="261" y="173"/>
                  </a:moveTo>
                  <a:cubicBezTo>
                    <a:pt x="195" y="173"/>
                    <a:pt x="195" y="173"/>
                    <a:pt x="195" y="173"/>
                  </a:cubicBezTo>
                  <a:cubicBezTo>
                    <a:pt x="210" y="135"/>
                    <a:pt x="232" y="100"/>
                    <a:pt x="261" y="71"/>
                  </a:cubicBezTo>
                  <a:lnTo>
                    <a:pt x="261" y="173"/>
                  </a:lnTo>
                  <a:close/>
                  <a:moveTo>
                    <a:pt x="219" y="52"/>
                  </a:moveTo>
                  <a:cubicBezTo>
                    <a:pt x="188" y="87"/>
                    <a:pt x="164" y="128"/>
                    <a:pt x="150" y="173"/>
                  </a:cubicBezTo>
                  <a:cubicBezTo>
                    <a:pt x="70" y="173"/>
                    <a:pt x="70" y="173"/>
                    <a:pt x="70" y="173"/>
                  </a:cubicBezTo>
                  <a:cubicBezTo>
                    <a:pt x="100" y="114"/>
                    <a:pt x="154" y="70"/>
                    <a:pt x="219" y="52"/>
                  </a:cubicBezTo>
                  <a:close/>
                  <a:moveTo>
                    <a:pt x="43" y="282"/>
                  </a:moveTo>
                  <a:cubicBezTo>
                    <a:pt x="43" y="259"/>
                    <a:pt x="47" y="237"/>
                    <a:pt x="53" y="217"/>
                  </a:cubicBezTo>
                  <a:cubicBezTo>
                    <a:pt x="139" y="217"/>
                    <a:pt x="139" y="217"/>
                    <a:pt x="139" y="217"/>
                  </a:cubicBezTo>
                  <a:cubicBezTo>
                    <a:pt x="135" y="238"/>
                    <a:pt x="132" y="260"/>
                    <a:pt x="132" y="282"/>
                  </a:cubicBezTo>
                  <a:cubicBezTo>
                    <a:pt x="132" y="304"/>
                    <a:pt x="135" y="325"/>
                    <a:pt x="139" y="347"/>
                  </a:cubicBezTo>
                  <a:cubicBezTo>
                    <a:pt x="53" y="347"/>
                    <a:pt x="53" y="347"/>
                    <a:pt x="53" y="347"/>
                  </a:cubicBezTo>
                  <a:cubicBezTo>
                    <a:pt x="47" y="326"/>
                    <a:pt x="43" y="304"/>
                    <a:pt x="43" y="282"/>
                  </a:cubicBezTo>
                  <a:close/>
                  <a:moveTo>
                    <a:pt x="780" y="749"/>
                  </a:moveTo>
                  <a:cubicBezTo>
                    <a:pt x="673" y="643"/>
                    <a:pt x="673" y="643"/>
                    <a:pt x="673" y="643"/>
                  </a:cubicBezTo>
                  <a:cubicBezTo>
                    <a:pt x="707" y="602"/>
                    <a:pt x="727" y="550"/>
                    <a:pt x="727" y="494"/>
                  </a:cubicBezTo>
                  <a:cubicBezTo>
                    <a:pt x="727" y="365"/>
                    <a:pt x="623" y="260"/>
                    <a:pt x="494" y="260"/>
                  </a:cubicBezTo>
                  <a:cubicBezTo>
                    <a:pt x="365" y="260"/>
                    <a:pt x="260" y="365"/>
                    <a:pt x="260" y="494"/>
                  </a:cubicBezTo>
                  <a:cubicBezTo>
                    <a:pt x="260" y="623"/>
                    <a:pt x="365" y="727"/>
                    <a:pt x="494" y="727"/>
                  </a:cubicBezTo>
                  <a:cubicBezTo>
                    <a:pt x="550" y="727"/>
                    <a:pt x="602" y="707"/>
                    <a:pt x="643" y="673"/>
                  </a:cubicBezTo>
                  <a:cubicBezTo>
                    <a:pt x="749" y="780"/>
                    <a:pt x="749" y="780"/>
                    <a:pt x="749" y="780"/>
                  </a:cubicBezTo>
                  <a:lnTo>
                    <a:pt x="780" y="749"/>
                  </a:lnTo>
                  <a:close/>
                  <a:moveTo>
                    <a:pt x="303" y="494"/>
                  </a:moveTo>
                  <a:cubicBezTo>
                    <a:pt x="303" y="389"/>
                    <a:pt x="389" y="303"/>
                    <a:pt x="494" y="303"/>
                  </a:cubicBezTo>
                  <a:cubicBezTo>
                    <a:pt x="599" y="303"/>
                    <a:pt x="684" y="389"/>
                    <a:pt x="684" y="494"/>
                  </a:cubicBezTo>
                  <a:cubicBezTo>
                    <a:pt x="684" y="599"/>
                    <a:pt x="599" y="684"/>
                    <a:pt x="494" y="684"/>
                  </a:cubicBezTo>
                  <a:cubicBezTo>
                    <a:pt x="389" y="684"/>
                    <a:pt x="303" y="599"/>
                    <a:pt x="303" y="49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0" name="Freeform 6"/>
            <p:cNvSpPr>
              <a:spLocks noEditPoints="1"/>
            </p:cNvSpPr>
            <p:nvPr/>
          </p:nvSpPr>
          <p:spPr bwMode="auto">
            <a:xfrm>
              <a:off x="-2181874" y="-269875"/>
              <a:ext cx="3373437" cy="3233738"/>
            </a:xfrm>
            <a:custGeom>
              <a:avLst/>
              <a:gdLst>
                <a:gd name="T0" fmla="*/ 245 w 265"/>
                <a:gd name="T1" fmla="*/ 115 h 254"/>
                <a:gd name="T2" fmla="*/ 212 w 265"/>
                <a:gd name="T3" fmla="*/ 115 h 254"/>
                <a:gd name="T4" fmla="*/ 212 w 265"/>
                <a:gd name="T5" fmla="*/ 32 h 254"/>
                <a:gd name="T6" fmla="*/ 189 w 265"/>
                <a:gd name="T7" fmla="*/ 32 h 254"/>
                <a:gd name="T8" fmla="*/ 189 w 265"/>
                <a:gd name="T9" fmla="*/ 0 h 254"/>
                <a:gd name="T10" fmla="*/ 229 w 265"/>
                <a:gd name="T11" fmla="*/ 0 h 254"/>
                <a:gd name="T12" fmla="*/ 245 w 265"/>
                <a:gd name="T13" fmla="*/ 16 h 254"/>
                <a:gd name="T14" fmla="*/ 245 w 265"/>
                <a:gd name="T15" fmla="*/ 115 h 254"/>
                <a:gd name="T16" fmla="*/ 96 w 265"/>
                <a:gd name="T17" fmla="*/ 195 h 254"/>
                <a:gd name="T18" fmla="*/ 50 w 265"/>
                <a:gd name="T19" fmla="*/ 139 h 254"/>
                <a:gd name="T20" fmla="*/ 4 w 265"/>
                <a:gd name="T21" fmla="*/ 195 h 254"/>
                <a:gd name="T22" fmla="*/ 50 w 265"/>
                <a:gd name="T23" fmla="*/ 251 h 254"/>
                <a:gd name="T24" fmla="*/ 96 w 265"/>
                <a:gd name="T25" fmla="*/ 195 h 254"/>
                <a:gd name="T26" fmla="*/ 64 w 265"/>
                <a:gd name="T27" fmla="*/ 195 h 254"/>
                <a:gd name="T28" fmla="*/ 50 w 265"/>
                <a:gd name="T29" fmla="*/ 218 h 254"/>
                <a:gd name="T30" fmla="*/ 36 w 265"/>
                <a:gd name="T31" fmla="*/ 195 h 254"/>
                <a:gd name="T32" fmla="*/ 50 w 265"/>
                <a:gd name="T33" fmla="*/ 171 h 254"/>
                <a:gd name="T34" fmla="*/ 64 w 265"/>
                <a:gd name="T35" fmla="*/ 195 h 254"/>
                <a:gd name="T36" fmla="*/ 265 w 265"/>
                <a:gd name="T37" fmla="*/ 195 h 254"/>
                <a:gd name="T38" fmla="*/ 219 w 265"/>
                <a:gd name="T39" fmla="*/ 139 h 254"/>
                <a:gd name="T40" fmla="*/ 173 w 265"/>
                <a:gd name="T41" fmla="*/ 195 h 254"/>
                <a:gd name="T42" fmla="*/ 219 w 265"/>
                <a:gd name="T43" fmla="*/ 251 h 254"/>
                <a:gd name="T44" fmla="*/ 265 w 265"/>
                <a:gd name="T45" fmla="*/ 195 h 254"/>
                <a:gd name="T46" fmla="*/ 232 w 265"/>
                <a:gd name="T47" fmla="*/ 195 h 254"/>
                <a:gd name="T48" fmla="*/ 219 w 265"/>
                <a:gd name="T49" fmla="*/ 218 h 254"/>
                <a:gd name="T50" fmla="*/ 205 w 265"/>
                <a:gd name="T51" fmla="*/ 195 h 254"/>
                <a:gd name="T52" fmla="*/ 219 w 265"/>
                <a:gd name="T53" fmla="*/ 171 h 254"/>
                <a:gd name="T54" fmla="*/ 232 w 265"/>
                <a:gd name="T55" fmla="*/ 195 h 254"/>
                <a:gd name="T56" fmla="*/ 56 w 265"/>
                <a:gd name="T57" fmla="*/ 16 h 254"/>
                <a:gd name="T58" fmla="*/ 40 w 265"/>
                <a:gd name="T59" fmla="*/ 0 h 254"/>
                <a:gd name="T60" fmla="*/ 0 w 265"/>
                <a:gd name="T61" fmla="*/ 0 h 254"/>
                <a:gd name="T62" fmla="*/ 0 w 265"/>
                <a:gd name="T63" fmla="*/ 32 h 254"/>
                <a:gd name="T64" fmla="*/ 24 w 265"/>
                <a:gd name="T65" fmla="*/ 32 h 254"/>
                <a:gd name="T66" fmla="*/ 24 w 265"/>
                <a:gd name="T67" fmla="*/ 115 h 254"/>
                <a:gd name="T68" fmla="*/ 56 w 265"/>
                <a:gd name="T69" fmla="*/ 115 h 254"/>
                <a:gd name="T70" fmla="*/ 56 w 265"/>
                <a:gd name="T71" fmla="*/ 16 h 254"/>
                <a:gd name="T72" fmla="*/ 156 w 265"/>
                <a:gd name="T73" fmla="*/ 155 h 254"/>
                <a:gd name="T74" fmla="*/ 139 w 265"/>
                <a:gd name="T75" fmla="*/ 139 h 254"/>
                <a:gd name="T76" fmla="*/ 100 w 265"/>
                <a:gd name="T77" fmla="*/ 139 h 254"/>
                <a:gd name="T78" fmla="*/ 100 w 265"/>
                <a:gd name="T79" fmla="*/ 171 h 254"/>
                <a:gd name="T80" fmla="*/ 123 w 265"/>
                <a:gd name="T81" fmla="*/ 171 h 254"/>
                <a:gd name="T82" fmla="*/ 123 w 265"/>
                <a:gd name="T83" fmla="*/ 254 h 254"/>
                <a:gd name="T84" fmla="*/ 156 w 265"/>
                <a:gd name="T85" fmla="*/ 254 h 254"/>
                <a:gd name="T86" fmla="*/ 156 w 265"/>
                <a:gd name="T87" fmla="*/ 155 h 254"/>
                <a:gd name="T88" fmla="*/ 175 w 265"/>
                <a:gd name="T89" fmla="*/ 56 h 254"/>
                <a:gd name="T90" fmla="*/ 129 w 265"/>
                <a:gd name="T91" fmla="*/ 0 h 254"/>
                <a:gd name="T92" fmla="*/ 83 w 265"/>
                <a:gd name="T93" fmla="*/ 56 h 254"/>
                <a:gd name="T94" fmla="*/ 129 w 265"/>
                <a:gd name="T95" fmla="*/ 112 h 254"/>
                <a:gd name="T96" fmla="*/ 175 w 265"/>
                <a:gd name="T97" fmla="*/ 56 h 254"/>
                <a:gd name="T98" fmla="*/ 143 w 265"/>
                <a:gd name="T99" fmla="*/ 56 h 254"/>
                <a:gd name="T100" fmla="*/ 129 w 265"/>
                <a:gd name="T101" fmla="*/ 79 h 254"/>
                <a:gd name="T102" fmla="*/ 116 w 265"/>
                <a:gd name="T103" fmla="*/ 56 h 254"/>
                <a:gd name="T104" fmla="*/ 129 w 265"/>
                <a:gd name="T105" fmla="*/ 32 h 254"/>
                <a:gd name="T106" fmla="*/ 143 w 265"/>
                <a:gd name="T107" fmla="*/ 56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5" h="254">
                  <a:moveTo>
                    <a:pt x="245" y="115"/>
                  </a:moveTo>
                  <a:cubicBezTo>
                    <a:pt x="212" y="115"/>
                    <a:pt x="212" y="115"/>
                    <a:pt x="212" y="115"/>
                  </a:cubicBezTo>
                  <a:cubicBezTo>
                    <a:pt x="212" y="32"/>
                    <a:pt x="212" y="32"/>
                    <a:pt x="212" y="32"/>
                  </a:cubicBezTo>
                  <a:cubicBezTo>
                    <a:pt x="189" y="32"/>
                    <a:pt x="189" y="32"/>
                    <a:pt x="189" y="32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238" y="0"/>
                    <a:pt x="245" y="7"/>
                    <a:pt x="245" y="16"/>
                  </a:cubicBezTo>
                  <a:lnTo>
                    <a:pt x="245" y="115"/>
                  </a:lnTo>
                  <a:close/>
                  <a:moveTo>
                    <a:pt x="96" y="195"/>
                  </a:moveTo>
                  <a:cubicBezTo>
                    <a:pt x="96" y="163"/>
                    <a:pt x="76" y="139"/>
                    <a:pt x="50" y="139"/>
                  </a:cubicBezTo>
                  <a:cubicBezTo>
                    <a:pt x="24" y="139"/>
                    <a:pt x="4" y="163"/>
                    <a:pt x="4" y="195"/>
                  </a:cubicBezTo>
                  <a:cubicBezTo>
                    <a:pt x="4" y="226"/>
                    <a:pt x="24" y="251"/>
                    <a:pt x="50" y="251"/>
                  </a:cubicBezTo>
                  <a:cubicBezTo>
                    <a:pt x="76" y="251"/>
                    <a:pt x="96" y="226"/>
                    <a:pt x="96" y="195"/>
                  </a:cubicBezTo>
                  <a:close/>
                  <a:moveTo>
                    <a:pt x="64" y="195"/>
                  </a:moveTo>
                  <a:cubicBezTo>
                    <a:pt x="64" y="208"/>
                    <a:pt x="56" y="218"/>
                    <a:pt x="50" y="218"/>
                  </a:cubicBezTo>
                  <a:cubicBezTo>
                    <a:pt x="44" y="218"/>
                    <a:pt x="36" y="208"/>
                    <a:pt x="36" y="195"/>
                  </a:cubicBezTo>
                  <a:cubicBezTo>
                    <a:pt x="36" y="181"/>
                    <a:pt x="44" y="171"/>
                    <a:pt x="50" y="171"/>
                  </a:cubicBezTo>
                  <a:cubicBezTo>
                    <a:pt x="56" y="171"/>
                    <a:pt x="64" y="181"/>
                    <a:pt x="64" y="195"/>
                  </a:cubicBezTo>
                  <a:close/>
                  <a:moveTo>
                    <a:pt x="265" y="195"/>
                  </a:moveTo>
                  <a:cubicBezTo>
                    <a:pt x="265" y="163"/>
                    <a:pt x="245" y="139"/>
                    <a:pt x="219" y="139"/>
                  </a:cubicBezTo>
                  <a:cubicBezTo>
                    <a:pt x="193" y="139"/>
                    <a:pt x="173" y="163"/>
                    <a:pt x="173" y="195"/>
                  </a:cubicBezTo>
                  <a:cubicBezTo>
                    <a:pt x="173" y="226"/>
                    <a:pt x="193" y="251"/>
                    <a:pt x="219" y="251"/>
                  </a:cubicBezTo>
                  <a:cubicBezTo>
                    <a:pt x="245" y="251"/>
                    <a:pt x="265" y="226"/>
                    <a:pt x="265" y="195"/>
                  </a:cubicBezTo>
                  <a:close/>
                  <a:moveTo>
                    <a:pt x="232" y="195"/>
                  </a:moveTo>
                  <a:cubicBezTo>
                    <a:pt x="232" y="208"/>
                    <a:pt x="225" y="218"/>
                    <a:pt x="219" y="218"/>
                  </a:cubicBezTo>
                  <a:cubicBezTo>
                    <a:pt x="212" y="218"/>
                    <a:pt x="205" y="208"/>
                    <a:pt x="205" y="195"/>
                  </a:cubicBezTo>
                  <a:cubicBezTo>
                    <a:pt x="205" y="181"/>
                    <a:pt x="212" y="171"/>
                    <a:pt x="219" y="171"/>
                  </a:cubicBezTo>
                  <a:cubicBezTo>
                    <a:pt x="225" y="171"/>
                    <a:pt x="232" y="181"/>
                    <a:pt x="232" y="195"/>
                  </a:cubicBezTo>
                  <a:close/>
                  <a:moveTo>
                    <a:pt x="56" y="16"/>
                  </a:moveTo>
                  <a:cubicBezTo>
                    <a:pt x="56" y="7"/>
                    <a:pt x="49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115"/>
                    <a:pt x="24" y="115"/>
                    <a:pt x="24" y="115"/>
                  </a:cubicBezTo>
                  <a:cubicBezTo>
                    <a:pt x="56" y="115"/>
                    <a:pt x="56" y="115"/>
                    <a:pt x="56" y="115"/>
                  </a:cubicBezTo>
                  <a:lnTo>
                    <a:pt x="56" y="16"/>
                  </a:lnTo>
                  <a:close/>
                  <a:moveTo>
                    <a:pt x="156" y="155"/>
                  </a:moveTo>
                  <a:cubicBezTo>
                    <a:pt x="156" y="146"/>
                    <a:pt x="148" y="139"/>
                    <a:pt x="139" y="139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100" y="171"/>
                    <a:pt x="100" y="171"/>
                    <a:pt x="100" y="171"/>
                  </a:cubicBezTo>
                  <a:cubicBezTo>
                    <a:pt x="123" y="171"/>
                    <a:pt x="123" y="171"/>
                    <a:pt x="123" y="171"/>
                  </a:cubicBezTo>
                  <a:cubicBezTo>
                    <a:pt x="123" y="254"/>
                    <a:pt x="123" y="254"/>
                    <a:pt x="123" y="254"/>
                  </a:cubicBezTo>
                  <a:cubicBezTo>
                    <a:pt x="156" y="254"/>
                    <a:pt x="156" y="254"/>
                    <a:pt x="156" y="254"/>
                  </a:cubicBezTo>
                  <a:lnTo>
                    <a:pt x="156" y="155"/>
                  </a:lnTo>
                  <a:close/>
                  <a:moveTo>
                    <a:pt x="175" y="56"/>
                  </a:moveTo>
                  <a:cubicBezTo>
                    <a:pt x="175" y="24"/>
                    <a:pt x="155" y="0"/>
                    <a:pt x="129" y="0"/>
                  </a:cubicBezTo>
                  <a:cubicBezTo>
                    <a:pt x="104" y="0"/>
                    <a:pt x="83" y="24"/>
                    <a:pt x="83" y="56"/>
                  </a:cubicBezTo>
                  <a:cubicBezTo>
                    <a:pt x="83" y="87"/>
                    <a:pt x="104" y="112"/>
                    <a:pt x="129" y="112"/>
                  </a:cubicBezTo>
                  <a:cubicBezTo>
                    <a:pt x="155" y="112"/>
                    <a:pt x="175" y="87"/>
                    <a:pt x="175" y="56"/>
                  </a:cubicBezTo>
                  <a:close/>
                  <a:moveTo>
                    <a:pt x="143" y="56"/>
                  </a:moveTo>
                  <a:cubicBezTo>
                    <a:pt x="143" y="69"/>
                    <a:pt x="136" y="79"/>
                    <a:pt x="129" y="79"/>
                  </a:cubicBezTo>
                  <a:cubicBezTo>
                    <a:pt x="123" y="79"/>
                    <a:pt x="116" y="69"/>
                    <a:pt x="116" y="56"/>
                  </a:cubicBezTo>
                  <a:cubicBezTo>
                    <a:pt x="116" y="42"/>
                    <a:pt x="123" y="32"/>
                    <a:pt x="129" y="32"/>
                  </a:cubicBezTo>
                  <a:cubicBezTo>
                    <a:pt x="136" y="32"/>
                    <a:pt x="143" y="42"/>
                    <a:pt x="143" y="56"/>
                  </a:cubicBez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pic>
        <p:nvPicPr>
          <p:cNvPr id="61" name="Picture 6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463197" y="4606342"/>
            <a:ext cx="826844" cy="826844"/>
          </a:xfrm>
          <a:prstGeom prst="rect">
            <a:avLst/>
          </a:prstGeom>
        </p:spPr>
      </p:pic>
      <p:grpSp>
        <p:nvGrpSpPr>
          <p:cNvPr id="62" name="Group 61"/>
          <p:cNvGrpSpPr>
            <a:grpSpLocks noChangeAspect="1"/>
          </p:cNvGrpSpPr>
          <p:nvPr/>
        </p:nvGrpSpPr>
        <p:grpSpPr>
          <a:xfrm>
            <a:off x="4894712" y="4606342"/>
            <a:ext cx="712796" cy="826844"/>
            <a:chOff x="5857875" y="3152775"/>
            <a:chExt cx="476251" cy="552451"/>
          </a:xfrm>
        </p:grpSpPr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5916613" y="3152775"/>
              <a:ext cx="417513" cy="227013"/>
            </a:xfrm>
            <a:custGeom>
              <a:avLst/>
              <a:gdLst>
                <a:gd name="T0" fmla="*/ 109 w 109"/>
                <a:gd name="T1" fmla="*/ 42 h 59"/>
                <a:gd name="T2" fmla="*/ 92 w 109"/>
                <a:gd name="T3" fmla="*/ 59 h 59"/>
                <a:gd name="T4" fmla="*/ 75 w 109"/>
                <a:gd name="T5" fmla="*/ 42 h 59"/>
                <a:gd name="T6" fmla="*/ 81 w 109"/>
                <a:gd name="T7" fmla="*/ 36 h 59"/>
                <a:gd name="T8" fmla="*/ 88 w 109"/>
                <a:gd name="T9" fmla="*/ 43 h 59"/>
                <a:gd name="T10" fmla="*/ 47 w 109"/>
                <a:gd name="T11" fmla="*/ 8 h 59"/>
                <a:gd name="T12" fmla="*/ 9 w 109"/>
                <a:gd name="T13" fmla="*/ 32 h 59"/>
                <a:gd name="T14" fmla="*/ 0 w 109"/>
                <a:gd name="T15" fmla="*/ 32 h 59"/>
                <a:gd name="T16" fmla="*/ 47 w 109"/>
                <a:gd name="T17" fmla="*/ 0 h 59"/>
                <a:gd name="T18" fmla="*/ 96 w 109"/>
                <a:gd name="T19" fmla="*/ 44 h 59"/>
                <a:gd name="T20" fmla="*/ 103 w 109"/>
                <a:gd name="T21" fmla="*/ 36 h 59"/>
                <a:gd name="T22" fmla="*/ 109 w 109"/>
                <a:gd name="T23" fmla="*/ 4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59">
                  <a:moveTo>
                    <a:pt x="109" y="42"/>
                  </a:moveTo>
                  <a:cubicBezTo>
                    <a:pt x="92" y="59"/>
                    <a:pt x="92" y="59"/>
                    <a:pt x="92" y="59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5" y="23"/>
                    <a:pt x="68" y="8"/>
                    <a:pt x="47" y="8"/>
                  </a:cubicBezTo>
                  <a:cubicBezTo>
                    <a:pt x="30" y="8"/>
                    <a:pt x="16" y="18"/>
                    <a:pt x="9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7" y="13"/>
                    <a:pt x="26" y="0"/>
                    <a:pt x="47" y="0"/>
                  </a:cubicBezTo>
                  <a:cubicBezTo>
                    <a:pt x="72" y="0"/>
                    <a:pt x="93" y="19"/>
                    <a:pt x="96" y="44"/>
                  </a:cubicBezTo>
                  <a:cubicBezTo>
                    <a:pt x="103" y="36"/>
                    <a:pt x="103" y="36"/>
                    <a:pt x="103" y="36"/>
                  </a:cubicBezTo>
                  <a:lnTo>
                    <a:pt x="109" y="42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7" name="Freeform 16"/>
            <p:cNvSpPr>
              <a:spLocks noEditPoints="1"/>
            </p:cNvSpPr>
            <p:nvPr/>
          </p:nvSpPr>
          <p:spPr bwMode="auto">
            <a:xfrm>
              <a:off x="5857875" y="3294063"/>
              <a:ext cx="422275" cy="411163"/>
            </a:xfrm>
            <a:custGeom>
              <a:avLst/>
              <a:gdLst>
                <a:gd name="T0" fmla="*/ 76 w 110"/>
                <a:gd name="T1" fmla="*/ 95 h 107"/>
                <a:gd name="T2" fmla="*/ 62 w 110"/>
                <a:gd name="T3" fmla="*/ 107 h 107"/>
                <a:gd name="T4" fmla="*/ 48 w 110"/>
                <a:gd name="T5" fmla="*/ 95 h 107"/>
                <a:gd name="T6" fmla="*/ 56 w 110"/>
                <a:gd name="T7" fmla="*/ 95 h 107"/>
                <a:gd name="T8" fmla="*/ 62 w 110"/>
                <a:gd name="T9" fmla="*/ 99 h 107"/>
                <a:gd name="T10" fmla="*/ 68 w 110"/>
                <a:gd name="T11" fmla="*/ 95 h 107"/>
                <a:gd name="T12" fmla="*/ 76 w 110"/>
                <a:gd name="T13" fmla="*/ 95 h 107"/>
                <a:gd name="T14" fmla="*/ 83 w 110"/>
                <a:gd name="T15" fmla="*/ 79 h 107"/>
                <a:gd name="T16" fmla="*/ 41 w 110"/>
                <a:gd name="T17" fmla="*/ 79 h 107"/>
                <a:gd name="T18" fmla="*/ 41 w 110"/>
                <a:gd name="T19" fmla="*/ 87 h 107"/>
                <a:gd name="T20" fmla="*/ 83 w 110"/>
                <a:gd name="T21" fmla="*/ 87 h 107"/>
                <a:gd name="T22" fmla="*/ 83 w 110"/>
                <a:gd name="T23" fmla="*/ 79 h 107"/>
                <a:gd name="T24" fmla="*/ 101 w 110"/>
                <a:gd name="T25" fmla="*/ 27 h 107"/>
                <a:gd name="T26" fmla="*/ 87 w 110"/>
                <a:gd name="T27" fmla="*/ 47 h 107"/>
                <a:gd name="T28" fmla="*/ 83 w 110"/>
                <a:gd name="T29" fmla="*/ 50 h 107"/>
                <a:gd name="T30" fmla="*/ 77 w 110"/>
                <a:gd name="T31" fmla="*/ 63 h 107"/>
                <a:gd name="T32" fmla="*/ 47 w 110"/>
                <a:gd name="T33" fmla="*/ 63 h 107"/>
                <a:gd name="T34" fmla="*/ 40 w 110"/>
                <a:gd name="T35" fmla="*/ 50 h 107"/>
                <a:gd name="T36" fmla="*/ 37 w 110"/>
                <a:gd name="T37" fmla="*/ 47 h 107"/>
                <a:gd name="T38" fmla="*/ 20 w 110"/>
                <a:gd name="T39" fmla="*/ 15 h 107"/>
                <a:gd name="T40" fmla="*/ 28 w 110"/>
                <a:gd name="T41" fmla="*/ 23 h 107"/>
                <a:gd name="T42" fmla="*/ 34 w 110"/>
                <a:gd name="T43" fmla="*/ 17 h 107"/>
                <a:gd name="T44" fmla="*/ 17 w 110"/>
                <a:gd name="T45" fmla="*/ 0 h 107"/>
                <a:gd name="T46" fmla="*/ 0 w 110"/>
                <a:gd name="T47" fmla="*/ 17 h 107"/>
                <a:gd name="T48" fmla="*/ 6 w 110"/>
                <a:gd name="T49" fmla="*/ 23 h 107"/>
                <a:gd name="T50" fmla="*/ 12 w 110"/>
                <a:gd name="T51" fmla="*/ 16 h 107"/>
                <a:gd name="T52" fmla="*/ 32 w 110"/>
                <a:gd name="T53" fmla="*/ 53 h 107"/>
                <a:gd name="T54" fmla="*/ 34 w 110"/>
                <a:gd name="T55" fmla="*/ 55 h 107"/>
                <a:gd name="T56" fmla="*/ 40 w 110"/>
                <a:gd name="T57" fmla="*/ 68 h 107"/>
                <a:gd name="T58" fmla="*/ 40 w 110"/>
                <a:gd name="T59" fmla="*/ 71 h 107"/>
                <a:gd name="T60" fmla="*/ 83 w 110"/>
                <a:gd name="T61" fmla="*/ 71 h 107"/>
                <a:gd name="T62" fmla="*/ 84 w 110"/>
                <a:gd name="T63" fmla="*/ 68 h 107"/>
                <a:gd name="T64" fmla="*/ 90 w 110"/>
                <a:gd name="T65" fmla="*/ 55 h 107"/>
                <a:gd name="T66" fmla="*/ 92 w 110"/>
                <a:gd name="T67" fmla="*/ 53 h 107"/>
                <a:gd name="T68" fmla="*/ 110 w 110"/>
                <a:gd name="T69" fmla="*/ 27 h 107"/>
                <a:gd name="T70" fmla="*/ 101 w 110"/>
                <a:gd name="T71" fmla="*/ 2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0" h="107">
                  <a:moveTo>
                    <a:pt x="76" y="95"/>
                  </a:moveTo>
                  <a:cubicBezTo>
                    <a:pt x="75" y="102"/>
                    <a:pt x="69" y="107"/>
                    <a:pt x="62" y="107"/>
                  </a:cubicBezTo>
                  <a:cubicBezTo>
                    <a:pt x="55" y="107"/>
                    <a:pt x="49" y="102"/>
                    <a:pt x="48" y="95"/>
                  </a:cubicBezTo>
                  <a:cubicBezTo>
                    <a:pt x="56" y="95"/>
                    <a:pt x="56" y="95"/>
                    <a:pt x="56" y="95"/>
                  </a:cubicBezTo>
                  <a:cubicBezTo>
                    <a:pt x="57" y="97"/>
                    <a:pt x="59" y="99"/>
                    <a:pt x="62" y="99"/>
                  </a:cubicBezTo>
                  <a:cubicBezTo>
                    <a:pt x="65" y="99"/>
                    <a:pt x="67" y="97"/>
                    <a:pt x="68" y="95"/>
                  </a:cubicBezTo>
                  <a:lnTo>
                    <a:pt x="76" y="95"/>
                  </a:lnTo>
                  <a:close/>
                  <a:moveTo>
                    <a:pt x="83" y="79"/>
                  </a:moveTo>
                  <a:cubicBezTo>
                    <a:pt x="41" y="79"/>
                    <a:pt x="41" y="79"/>
                    <a:pt x="41" y="79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83" y="87"/>
                    <a:pt x="83" y="87"/>
                    <a:pt x="83" y="87"/>
                  </a:cubicBezTo>
                  <a:lnTo>
                    <a:pt x="83" y="79"/>
                  </a:lnTo>
                  <a:close/>
                  <a:moveTo>
                    <a:pt x="101" y="27"/>
                  </a:moveTo>
                  <a:cubicBezTo>
                    <a:pt x="98" y="37"/>
                    <a:pt x="91" y="43"/>
                    <a:pt x="87" y="47"/>
                  </a:cubicBezTo>
                  <a:cubicBezTo>
                    <a:pt x="85" y="48"/>
                    <a:pt x="84" y="49"/>
                    <a:pt x="83" y="50"/>
                  </a:cubicBezTo>
                  <a:cubicBezTo>
                    <a:pt x="80" y="54"/>
                    <a:pt x="78" y="58"/>
                    <a:pt x="7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5" y="58"/>
                    <a:pt x="43" y="54"/>
                    <a:pt x="40" y="50"/>
                  </a:cubicBezTo>
                  <a:cubicBezTo>
                    <a:pt x="40" y="49"/>
                    <a:pt x="39" y="48"/>
                    <a:pt x="37" y="47"/>
                  </a:cubicBezTo>
                  <a:cubicBezTo>
                    <a:pt x="31" y="42"/>
                    <a:pt x="21" y="32"/>
                    <a:pt x="20" y="15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4" y="36"/>
                    <a:pt x="26" y="47"/>
                    <a:pt x="32" y="53"/>
                  </a:cubicBezTo>
                  <a:cubicBezTo>
                    <a:pt x="33" y="54"/>
                    <a:pt x="34" y="55"/>
                    <a:pt x="34" y="55"/>
                  </a:cubicBezTo>
                  <a:cubicBezTo>
                    <a:pt x="36" y="57"/>
                    <a:pt x="38" y="61"/>
                    <a:pt x="40" y="68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5" y="61"/>
                    <a:pt x="88" y="57"/>
                    <a:pt x="90" y="55"/>
                  </a:cubicBezTo>
                  <a:cubicBezTo>
                    <a:pt x="90" y="55"/>
                    <a:pt x="91" y="54"/>
                    <a:pt x="92" y="53"/>
                  </a:cubicBezTo>
                  <a:cubicBezTo>
                    <a:pt x="97" y="48"/>
                    <a:pt x="106" y="40"/>
                    <a:pt x="110" y="27"/>
                  </a:cubicBezTo>
                  <a:lnTo>
                    <a:pt x="101" y="2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pic>
        <p:nvPicPr>
          <p:cNvPr id="70" name="Picture 69" descr="lock_02.eps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7672" y="3972590"/>
            <a:ext cx="221173" cy="300234"/>
          </a:xfrm>
          <a:prstGeom prst="rect">
            <a:avLst/>
          </a:prstGeom>
        </p:spPr>
      </p:pic>
      <p:pic>
        <p:nvPicPr>
          <p:cNvPr id="71" name="Picture 70" descr="speedometer_01.eps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144" y="3984276"/>
            <a:ext cx="297657" cy="285750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 bwMode="ltGray">
          <a:xfrm>
            <a:off x="1161428" y="4391926"/>
            <a:ext cx="1430382" cy="2144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prstClr val="black"/>
                </a:solidFill>
              </a:rPr>
              <a:t>Интернет вещей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73" name="Rectangle 72"/>
          <p:cNvSpPr/>
          <p:nvPr/>
        </p:nvSpPr>
        <p:spPr bwMode="ltGray">
          <a:xfrm>
            <a:off x="4288888" y="4370410"/>
            <a:ext cx="1914665" cy="2144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prstClr val="black"/>
                </a:solidFill>
              </a:rPr>
              <a:t>Искусственный интеллект</a:t>
            </a:r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75" name="Rectangle 74"/>
          <p:cNvSpPr/>
          <p:nvPr/>
        </p:nvSpPr>
        <p:spPr bwMode="ltGray">
          <a:xfrm>
            <a:off x="7187191" y="4391926"/>
            <a:ext cx="1513001" cy="21441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prstClr val="black"/>
                </a:solidFill>
              </a:rPr>
              <a:t>Большие данные</a:t>
            </a:r>
            <a:endParaRPr lang="en-US" sz="105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715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Цифровые </a:t>
            </a:r>
            <a:r>
              <a:rPr lang="ru-RU" dirty="0" smtClean="0"/>
              <a:t>инициативы с участием </a:t>
            </a:r>
            <a:r>
              <a:rPr lang="en-US" dirty="0"/>
              <a:t>Hewlett Packard Enterpris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6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081" y="1978435"/>
            <a:ext cx="1737032" cy="13210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5535" y="2009041"/>
            <a:ext cx="2038678" cy="12903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657" y="3594581"/>
            <a:ext cx="1809878" cy="130914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0537" y="3613886"/>
            <a:ext cx="2160656" cy="126038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963963" y="1825035"/>
            <a:ext cx="4009556" cy="40010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Мониторинг производства в реальном времени</a:t>
            </a:r>
            <a:endParaRPr lang="en-US" sz="1200" b="1" dirty="0">
              <a:solidFill>
                <a:schemeClr val="accent4"/>
              </a:solidFill>
            </a:endParaRP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Мониторинг состояния и предиктивное обслуживание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Подключенный работник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Цифровое моделирование процессов</a:t>
            </a:r>
            <a:endParaRPr lang="en-US" sz="1200" b="1" dirty="0">
              <a:solidFill>
                <a:schemeClr val="accent4"/>
              </a:solidFill>
            </a:endParaRP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Автономная промышленная система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Цифровое управление технологическим процессом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Безопасные цифровые коммуникации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Мониторинг состояния с использованием машинного зрения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Цифровой маркетинг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Цифровая копия предприятия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Интеллектуальные диспетчерские системы</a:t>
            </a: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r>
              <a:rPr lang="ru-RU" sz="1200" b="1" dirty="0">
                <a:solidFill>
                  <a:schemeClr val="accent4"/>
                </a:solidFill>
              </a:rPr>
              <a:t>Удаленное экспертное сопровождение</a:t>
            </a:r>
            <a:endParaRPr lang="en-US" sz="1200" b="1" dirty="0">
              <a:solidFill>
                <a:schemeClr val="accent4"/>
              </a:solidFill>
            </a:endParaRPr>
          </a:p>
          <a:p>
            <a:pPr marL="216000" indent="-202500">
              <a:spcAft>
                <a:spcPts val="450"/>
              </a:spcAft>
              <a:buFont typeface="+mj-lt"/>
              <a:buAutoNum type="arabicPeriod"/>
            </a:pPr>
            <a:endParaRPr lang="en-US" sz="1200" b="1" dirty="0" err="1">
              <a:solidFill>
                <a:schemeClr val="accent4"/>
              </a:solidFill>
            </a:endParaRPr>
          </a:p>
        </p:txBody>
      </p:sp>
      <p:sp>
        <p:nvSpPr>
          <p:cNvPr id="23" name="Rounded Rectangle 22"/>
          <p:cNvSpPr/>
          <p:nvPr/>
        </p:nvSpPr>
        <p:spPr bwMode="ltGray">
          <a:xfrm>
            <a:off x="693857" y="2115931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schemeClr val="accent4"/>
                </a:solidFill>
              </a:rPr>
              <a:t>1</a:t>
            </a:r>
            <a:endParaRPr lang="en-US" sz="1050" b="1" dirty="0" err="1">
              <a:solidFill>
                <a:schemeClr val="accent4"/>
              </a:solidFill>
            </a:endParaRPr>
          </a:p>
        </p:txBody>
      </p:sp>
      <p:sp>
        <p:nvSpPr>
          <p:cNvPr id="24" name="Rounded Rectangle 23"/>
          <p:cNvSpPr/>
          <p:nvPr/>
        </p:nvSpPr>
        <p:spPr bwMode="ltGray">
          <a:xfrm>
            <a:off x="1136739" y="2093949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ru-RU" sz="1050" b="1" dirty="0">
                <a:solidFill>
                  <a:schemeClr val="accent4"/>
                </a:solidFill>
              </a:rPr>
              <a:t>2</a:t>
            </a:r>
            <a:endParaRPr lang="en-US" sz="1050" b="1" dirty="0" err="1">
              <a:solidFill>
                <a:schemeClr val="accent4"/>
              </a:solidFill>
            </a:endParaRPr>
          </a:p>
        </p:txBody>
      </p:sp>
      <p:sp>
        <p:nvSpPr>
          <p:cNvPr id="25" name="Rounded Rectangle 24"/>
          <p:cNvSpPr/>
          <p:nvPr/>
        </p:nvSpPr>
        <p:spPr bwMode="ltGray">
          <a:xfrm>
            <a:off x="1239793" y="2593014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3</a:t>
            </a:r>
          </a:p>
        </p:txBody>
      </p:sp>
      <p:sp>
        <p:nvSpPr>
          <p:cNvPr id="26" name="Rounded Rectangle 25"/>
          <p:cNvSpPr/>
          <p:nvPr/>
        </p:nvSpPr>
        <p:spPr bwMode="ltGray">
          <a:xfrm>
            <a:off x="1220742" y="3563263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4</a:t>
            </a:r>
          </a:p>
        </p:txBody>
      </p:sp>
      <p:sp>
        <p:nvSpPr>
          <p:cNvPr id="27" name="Rounded Rectangle 26"/>
          <p:cNvSpPr/>
          <p:nvPr/>
        </p:nvSpPr>
        <p:spPr bwMode="ltGray">
          <a:xfrm>
            <a:off x="1222544" y="4219797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5</a:t>
            </a:r>
          </a:p>
        </p:txBody>
      </p:sp>
      <p:sp>
        <p:nvSpPr>
          <p:cNvPr id="29" name="Rounded Rectangle 28"/>
          <p:cNvSpPr/>
          <p:nvPr/>
        </p:nvSpPr>
        <p:spPr bwMode="ltGray">
          <a:xfrm>
            <a:off x="1810586" y="3577806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6</a:t>
            </a:r>
          </a:p>
        </p:txBody>
      </p:sp>
      <p:sp>
        <p:nvSpPr>
          <p:cNvPr id="30" name="Rounded Rectangle 29"/>
          <p:cNvSpPr/>
          <p:nvPr/>
        </p:nvSpPr>
        <p:spPr bwMode="ltGray">
          <a:xfrm>
            <a:off x="3112781" y="2156854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8</a:t>
            </a:r>
          </a:p>
        </p:txBody>
      </p:sp>
      <p:sp>
        <p:nvSpPr>
          <p:cNvPr id="31" name="Rounded Rectangle 30"/>
          <p:cNvSpPr/>
          <p:nvPr/>
        </p:nvSpPr>
        <p:spPr bwMode="ltGray">
          <a:xfrm>
            <a:off x="4139870" y="2153742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9</a:t>
            </a:r>
          </a:p>
        </p:txBody>
      </p:sp>
      <p:sp>
        <p:nvSpPr>
          <p:cNvPr id="32" name="Rounded Rectangle 31"/>
          <p:cNvSpPr/>
          <p:nvPr/>
        </p:nvSpPr>
        <p:spPr bwMode="ltGray">
          <a:xfrm>
            <a:off x="2662915" y="2115931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7</a:t>
            </a:r>
          </a:p>
        </p:txBody>
      </p:sp>
      <p:sp>
        <p:nvSpPr>
          <p:cNvPr id="33" name="Rounded Rectangle 32"/>
          <p:cNvSpPr/>
          <p:nvPr/>
        </p:nvSpPr>
        <p:spPr bwMode="ltGray">
          <a:xfrm>
            <a:off x="3174979" y="3516168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10</a:t>
            </a:r>
          </a:p>
        </p:txBody>
      </p:sp>
      <p:sp>
        <p:nvSpPr>
          <p:cNvPr id="34" name="Rounded Rectangle 33"/>
          <p:cNvSpPr/>
          <p:nvPr/>
        </p:nvSpPr>
        <p:spPr bwMode="ltGray">
          <a:xfrm>
            <a:off x="3009728" y="4051208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11</a:t>
            </a:r>
          </a:p>
        </p:txBody>
      </p:sp>
      <p:sp>
        <p:nvSpPr>
          <p:cNvPr id="35" name="Rounded Rectangle 34"/>
          <p:cNvSpPr/>
          <p:nvPr/>
        </p:nvSpPr>
        <p:spPr bwMode="ltGray">
          <a:xfrm>
            <a:off x="3794593" y="4378709"/>
            <a:ext cx="206105" cy="156827"/>
          </a:xfrm>
          <a:prstGeom prst="roundRect">
            <a:avLst/>
          </a:prstGeom>
          <a:solidFill>
            <a:schemeClr val="bg1"/>
          </a:solidFill>
          <a:ln w="317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ct val="90000"/>
              </a:lnSpc>
            </a:pPr>
            <a:r>
              <a:rPr lang="en-US" sz="1050" b="1" dirty="0">
                <a:solidFill>
                  <a:schemeClr val="accent4"/>
                </a:solidFill>
              </a:rPr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59825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168AF7A0-73B8-4AAB-B910-A8AB0AFBBDB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229" y="4016822"/>
            <a:ext cx="699795" cy="492132"/>
          </a:xfrm>
          <a:prstGeom prst="rect">
            <a:avLst/>
          </a:prstGeom>
        </p:spPr>
      </p:pic>
      <p:cxnSp>
        <p:nvCxnSpPr>
          <p:cNvPr id="26" name="Elbow Connector 25"/>
          <p:cNvCxnSpPr>
            <a:stCxn id="24" idx="3"/>
            <a:endCxn id="31" idx="1"/>
          </p:cNvCxnSpPr>
          <p:nvPr/>
        </p:nvCxnSpPr>
        <p:spPr>
          <a:xfrm>
            <a:off x="1583030" y="3609455"/>
            <a:ext cx="622711" cy="865101"/>
          </a:xfrm>
          <a:prstGeom prst="bentConnector3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stCxn id="85" idx="1"/>
            <a:endCxn id="31" idx="3"/>
          </p:cNvCxnSpPr>
          <p:nvPr/>
        </p:nvCxnSpPr>
        <p:spPr>
          <a:xfrm flipH="1">
            <a:off x="4921720" y="4471522"/>
            <a:ext cx="478880" cy="3035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stCxn id="84" idx="1"/>
            <a:endCxn id="42" idx="3"/>
          </p:cNvCxnSpPr>
          <p:nvPr/>
        </p:nvCxnSpPr>
        <p:spPr>
          <a:xfrm flipH="1">
            <a:off x="4921720" y="2683953"/>
            <a:ext cx="478880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бор данных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7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11" name="Picture 10" descr="Image result for ABB">
            <a:extLst>
              <a:ext uri="{FF2B5EF4-FFF2-40B4-BE49-F238E27FC236}">
                <a16:creationId xmlns="" xmlns:a16="http://schemas.microsoft.com/office/drawing/2014/main" id="{1A5119FE-3CA2-4B5C-97A3-D57A8500C2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076" y="2290755"/>
            <a:ext cx="321121" cy="127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3B818954-FBE9-4A50-AED3-B38E748E0CB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460" y="2468601"/>
            <a:ext cx="813894" cy="144207"/>
          </a:xfrm>
          <a:prstGeom prst="rect">
            <a:avLst/>
          </a:prstGeom>
        </p:spPr>
      </p:pic>
      <p:pic>
        <p:nvPicPr>
          <p:cNvPr id="13" name="Picture 2" descr="Image result for beckhoff">
            <a:extLst>
              <a:ext uri="{FF2B5EF4-FFF2-40B4-BE49-F238E27FC236}">
                <a16:creationId xmlns="" xmlns:a16="http://schemas.microsoft.com/office/drawing/2014/main" id="{899A5C7C-A78C-4BE4-AEF0-5109C861B0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8665" y="2707497"/>
            <a:ext cx="563943" cy="107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="" xmlns:a16="http://schemas.microsoft.com/office/drawing/2014/main" id="{C5698282-88B4-4840-9AE8-1F5F2D086426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637" y="3134087"/>
            <a:ext cx="228600" cy="2286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="" xmlns:a16="http://schemas.microsoft.com/office/drawing/2014/main" id="{2C7944FB-5DC9-4CA9-A861-A20BB51CE18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6693" y="3360204"/>
            <a:ext cx="760291" cy="33712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="" xmlns:a16="http://schemas.microsoft.com/office/drawing/2014/main" id="{95F95F04-406D-49B3-B1A3-6355FE38BF2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540" y="3717608"/>
            <a:ext cx="649568" cy="19974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="" xmlns:a16="http://schemas.microsoft.com/office/drawing/2014/main" id="{782EBDBF-F56F-4B70-91BC-24088C3ADD2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49" y="3958009"/>
            <a:ext cx="856707" cy="128506"/>
          </a:xfrm>
          <a:prstGeom prst="rect">
            <a:avLst/>
          </a:prstGeom>
        </p:spPr>
      </p:pic>
      <p:pic>
        <p:nvPicPr>
          <p:cNvPr id="19" name="Picture 6" descr="Image result for sick logo">
            <a:extLst>
              <a:ext uri="{FF2B5EF4-FFF2-40B4-BE49-F238E27FC236}">
                <a16:creationId xmlns="" xmlns:a16="http://schemas.microsoft.com/office/drawing/2014/main" id="{E9864C23-96AB-4BA9-840A-980076FFB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195" y="4444954"/>
            <a:ext cx="403577" cy="127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1D7AA7C3-49D1-4C03-9265-4E2A34CEADC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208" y="4660441"/>
            <a:ext cx="512969" cy="12208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C772C101-5FF1-443D-A5CC-A4DB27874A3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915" y="4944360"/>
            <a:ext cx="413111" cy="4131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3DAB51CA-08AA-45A2-BB06-C2C6C78D2A0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4548" y="4861874"/>
            <a:ext cx="644807" cy="11768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E175B0F8-A522-4CFB-BD1C-DB85B5E994D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520" y="2927705"/>
            <a:ext cx="611805" cy="172070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336009" y="1859728"/>
            <a:ext cx="1247019" cy="3499454"/>
          </a:xfrm>
          <a:prstGeom prst="rect">
            <a:avLst/>
          </a:prstGeom>
          <a:noFill/>
          <a:ln w="38100" cap="flat" cmpd="sng" algn="ctr">
            <a:solidFill>
              <a:schemeClr val="accent2"/>
            </a:solidFill>
            <a:prstDash val="solid"/>
            <a:miter lim="800000"/>
          </a:ln>
          <a:effectLst/>
        </p:spPr>
        <p:txBody>
          <a:bodyPr lIns="68571" tIns="68580" rIns="68571" bIns="34286" rtlCol="0" anchor="t"/>
          <a:lstStyle/>
          <a:p>
            <a:pPr algn="ctr">
              <a:lnSpc>
                <a:spcPct val="90000"/>
              </a:lnSpc>
              <a:defRPr/>
            </a:pPr>
            <a:endParaRPr lang="en-US" sz="1350" b="1" dirty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ltGray">
          <a:xfrm>
            <a:off x="2205739" y="3849154"/>
            <a:ext cx="2715980" cy="1250807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tlCol="0" anchor="t"/>
          <a:lstStyle/>
          <a:p>
            <a:pPr marL="385763">
              <a:lnSpc>
                <a:spcPct val="90000"/>
              </a:lnSpc>
            </a:pPr>
            <a:endParaRPr lang="en-US" sz="900">
              <a:solidFill>
                <a:prstClr val="white"/>
              </a:solidFill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6BEF3794-AE5B-45C8-8623-1745D96D1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496" y="4884745"/>
            <a:ext cx="829319" cy="161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6" name="Picture 2">
            <a:extLst>
              <a:ext uri="{FF2B5EF4-FFF2-40B4-BE49-F238E27FC236}">
                <a16:creationId xmlns:a16="http://schemas.microsoft.com/office/drawing/2014/main" xmlns="" id="{EDA10AD4-3F70-4B8F-8E47-ADFAA56E2C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5495" y="4476670"/>
            <a:ext cx="833941" cy="165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xmlns="" id="{EE3592E6-F255-44D6-B7DA-8103E69942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0904" y="4326453"/>
            <a:ext cx="803126" cy="122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A961F197-F95E-4ED0-9D22-8FC8FAB3A2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06364" y="4681610"/>
            <a:ext cx="833941" cy="167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7630" y="4135997"/>
            <a:ext cx="1283333" cy="962499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 bwMode="ltGray">
          <a:xfrm>
            <a:off x="2202697" y="1879767"/>
            <a:ext cx="2719022" cy="1608372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8580" rtlCol="0" anchor="t"/>
          <a:lstStyle/>
          <a:p>
            <a:pPr marL="385763">
              <a:lnSpc>
                <a:spcPct val="90000"/>
              </a:lnSpc>
            </a:pPr>
            <a:endParaRPr lang="en-US" sz="900">
              <a:solidFill>
                <a:prstClr val="white"/>
              </a:solidFill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1578" y="2318366"/>
            <a:ext cx="1783473" cy="1119227"/>
          </a:xfrm>
          <a:prstGeom prst="rect">
            <a:avLst/>
          </a:prstGeom>
        </p:spPr>
      </p:pic>
      <p:cxnSp>
        <p:nvCxnSpPr>
          <p:cNvPr id="55" name="Straight Connector 54"/>
          <p:cNvCxnSpPr>
            <a:stCxn id="42" idx="2"/>
            <a:endCxn id="31" idx="0"/>
          </p:cNvCxnSpPr>
          <p:nvPr/>
        </p:nvCxnSpPr>
        <p:spPr>
          <a:xfrm>
            <a:off x="3562208" y="3488141"/>
            <a:ext cx="1521" cy="361013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Picture 60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3177" y="4226477"/>
            <a:ext cx="935645" cy="5263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9711" y="4227962"/>
            <a:ext cx="946538" cy="526300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63" name="Group 62"/>
          <p:cNvGrpSpPr/>
          <p:nvPr/>
        </p:nvGrpSpPr>
        <p:grpSpPr>
          <a:xfrm>
            <a:off x="7544799" y="4212134"/>
            <a:ext cx="1189552" cy="708587"/>
            <a:chOff x="3013788" y="3918865"/>
            <a:chExt cx="4562669" cy="2715204"/>
          </a:xfrm>
        </p:grpSpPr>
        <p:sp>
          <p:nvSpPr>
            <p:cNvPr id="64" name="Rectangle 63"/>
            <p:cNvSpPr/>
            <p:nvPr/>
          </p:nvSpPr>
          <p:spPr bwMode="ltGray">
            <a:xfrm>
              <a:off x="3013788" y="3918865"/>
              <a:ext cx="4562669" cy="2715204"/>
            </a:xfrm>
            <a:prstGeom prst="rect">
              <a:avLst/>
            </a:prstGeom>
            <a:solidFill>
              <a:schemeClr val="accent6"/>
            </a:solidFill>
            <a:ln w="190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sz="1350">
                <a:solidFill>
                  <a:prstClr val="white"/>
                </a:solidFill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3104501" y="3965510"/>
              <a:ext cx="4387980" cy="2595414"/>
              <a:chOff x="3104501" y="3965510"/>
              <a:chExt cx="4387980" cy="2595414"/>
            </a:xfrm>
          </p:grpSpPr>
          <p:pic>
            <p:nvPicPr>
              <p:cNvPr id="66" name="Picture 65"/>
              <p:cNvPicPr>
                <a:picLocks noChangeAspect="1"/>
              </p:cNvPicPr>
              <p:nvPr/>
            </p:nvPicPr>
            <p:blipFill rotWithShape="1">
              <a:blip r:embed="rId2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104501" y="3965510"/>
                <a:ext cx="4369319" cy="2593910"/>
              </a:xfrm>
              <a:prstGeom prst="rect">
                <a:avLst/>
              </a:prstGeom>
            </p:spPr>
          </p:pic>
          <p:pic>
            <p:nvPicPr>
              <p:cNvPr id="67" name="Picture 66"/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73328" y="3973344"/>
                <a:ext cx="3819153" cy="2587580"/>
              </a:xfrm>
              <a:prstGeom prst="rect">
                <a:avLst/>
              </a:prstGeom>
            </p:spPr>
          </p:pic>
        </p:grpSp>
      </p:grpSp>
      <p:sp>
        <p:nvSpPr>
          <p:cNvPr id="76" name="TextBox 75"/>
          <p:cNvSpPr txBox="1"/>
          <p:nvPr/>
        </p:nvSpPr>
        <p:spPr>
          <a:xfrm>
            <a:off x="2202697" y="1907347"/>
            <a:ext cx="2719022" cy="3276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Платформа первичной обработки данных </a:t>
            </a:r>
            <a:r>
              <a:rPr lang="en-US" sz="1350" b="1" dirty="0"/>
              <a:t>OT Link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2205740" y="3877251"/>
            <a:ext cx="2715980" cy="3713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Система </a:t>
            </a:r>
            <a:r>
              <a:rPr lang="en-US" sz="1350" b="1" dirty="0" err="1"/>
              <a:t>Edgeline</a:t>
            </a:r>
            <a:endParaRPr lang="ru-RU" sz="1350" b="1" dirty="0"/>
          </a:p>
          <a:p>
            <a:pPr algn="ctr">
              <a:lnSpc>
                <a:spcPct val="90000"/>
              </a:lnSpc>
            </a:pPr>
            <a:r>
              <a:rPr lang="ru-RU" sz="1350" b="1" dirty="0"/>
              <a:t>с модулями связи </a:t>
            </a:r>
            <a:r>
              <a:rPr lang="en-US" sz="1350" b="1" dirty="0"/>
              <a:t>OT Link</a:t>
            </a:r>
          </a:p>
        </p:txBody>
      </p:sp>
      <p:sp>
        <p:nvSpPr>
          <p:cNvPr id="84" name="Rectangle 83"/>
          <p:cNvSpPr/>
          <p:nvPr/>
        </p:nvSpPr>
        <p:spPr>
          <a:xfrm>
            <a:off x="5400601" y="1879767"/>
            <a:ext cx="3403679" cy="1608372"/>
          </a:xfrm>
          <a:prstGeom prst="rect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68571" tIns="34286" rIns="68571" bIns="34286" rtlCol="0" anchor="t"/>
          <a:lstStyle/>
          <a:p>
            <a:pPr marL="433388" algn="ctr">
              <a:defRPr/>
            </a:pPr>
            <a:endParaRPr lang="en-US" sz="9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5400601" y="3844548"/>
            <a:ext cx="3403679" cy="1253948"/>
          </a:xfrm>
          <a:prstGeom prst="rect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lIns="68571" tIns="34286" rIns="68571" bIns="34286" rtlCol="0" anchor="t"/>
          <a:lstStyle/>
          <a:p>
            <a:pPr marL="433388" algn="ctr">
              <a:defRPr/>
            </a:pPr>
            <a:endParaRPr lang="en-US" sz="90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402953" y="3868297"/>
            <a:ext cx="3401325" cy="2867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Системы управления </a:t>
            </a:r>
            <a:r>
              <a:rPr lang="en-US" sz="1350" b="1" dirty="0" err="1"/>
              <a:t>Edgeline</a:t>
            </a:r>
            <a:endParaRPr lang="en-US" sz="1350" b="1" dirty="0"/>
          </a:p>
        </p:txBody>
      </p:sp>
      <p:sp>
        <p:nvSpPr>
          <p:cNvPr id="94" name="TextBox 93"/>
          <p:cNvSpPr txBox="1"/>
          <p:nvPr/>
        </p:nvSpPr>
        <p:spPr>
          <a:xfrm>
            <a:off x="5400600" y="1919205"/>
            <a:ext cx="3403679" cy="3276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Корпоративные системы хранения и обработки данных</a:t>
            </a:r>
            <a:endParaRPr lang="en-US" sz="1350" b="1" dirty="0"/>
          </a:p>
        </p:txBody>
      </p:sp>
      <p:pic>
        <p:nvPicPr>
          <p:cNvPr id="96" name="Picture 95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2719" y="2373556"/>
            <a:ext cx="926137" cy="493940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0755" y="2348470"/>
            <a:ext cx="1804919" cy="589676"/>
          </a:xfrm>
          <a:prstGeom prst="rect">
            <a:avLst/>
          </a:prstGeom>
        </p:spPr>
      </p:pic>
      <p:pic>
        <p:nvPicPr>
          <p:cNvPr id="98" name="Picture 97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4811" y="2918531"/>
            <a:ext cx="802822" cy="409439"/>
          </a:xfrm>
          <a:prstGeom prst="rect">
            <a:avLst/>
          </a:prstGeom>
        </p:spPr>
      </p:pic>
      <p:pic>
        <p:nvPicPr>
          <p:cNvPr id="99" name="Picture 98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3020" y="2938145"/>
            <a:ext cx="1234208" cy="371168"/>
          </a:xfrm>
          <a:prstGeom prst="rect">
            <a:avLst/>
          </a:prstGeom>
        </p:spPr>
      </p:pic>
      <p:sp>
        <p:nvSpPr>
          <p:cNvPr id="100" name="TextBox 99"/>
          <p:cNvSpPr txBox="1"/>
          <p:nvPr/>
        </p:nvSpPr>
        <p:spPr>
          <a:xfrm>
            <a:off x="364306" y="1890147"/>
            <a:ext cx="1218722" cy="32764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Контроллеры</a:t>
            </a:r>
          </a:p>
          <a:p>
            <a:pPr algn="ctr">
              <a:lnSpc>
                <a:spcPct val="90000"/>
              </a:lnSpc>
            </a:pPr>
            <a:r>
              <a:rPr lang="en-US" sz="1350" b="1" dirty="0"/>
              <a:t>(PLC)</a:t>
            </a:r>
          </a:p>
        </p:txBody>
      </p:sp>
    </p:spTree>
    <p:extLst>
      <p:ext uri="{BB962C8B-B14F-4D97-AF65-F5344CB8AC3E}">
        <p14:creationId xmlns:p14="http://schemas.microsoft.com/office/powerpoint/2010/main" val="3482925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дключенный работник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8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2273" y="3088890"/>
            <a:ext cx="1003437" cy="236766"/>
          </a:xfrm>
          <a:prstGeom prst="rect">
            <a:avLst/>
          </a:prstGeom>
        </p:spPr>
      </p:pic>
      <p:grpSp>
        <p:nvGrpSpPr>
          <p:cNvPr id="82" name="Group 81"/>
          <p:cNvGrpSpPr/>
          <p:nvPr/>
        </p:nvGrpSpPr>
        <p:grpSpPr>
          <a:xfrm>
            <a:off x="1316735" y="3547710"/>
            <a:ext cx="534591" cy="1882379"/>
            <a:chOff x="5742697" y="3134455"/>
            <a:chExt cx="712788" cy="2509838"/>
          </a:xfrm>
        </p:grpSpPr>
        <p:sp>
          <p:nvSpPr>
            <p:cNvPr id="53" name="Rectangle 46"/>
            <p:cNvSpPr>
              <a:spLocks noChangeArrowheads="1"/>
            </p:cNvSpPr>
            <p:nvPr/>
          </p:nvSpPr>
          <p:spPr bwMode="auto">
            <a:xfrm>
              <a:off x="6214185" y="5614130"/>
              <a:ext cx="134938" cy="301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4" name="Freeform 47"/>
            <p:cNvSpPr>
              <a:spLocks/>
            </p:cNvSpPr>
            <p:nvPr/>
          </p:nvSpPr>
          <p:spPr bwMode="auto">
            <a:xfrm>
              <a:off x="6118935" y="4337780"/>
              <a:ext cx="241300" cy="1249363"/>
            </a:xfrm>
            <a:custGeom>
              <a:avLst/>
              <a:gdLst>
                <a:gd name="T0" fmla="*/ 145 w 152"/>
                <a:gd name="T1" fmla="*/ 787 h 787"/>
                <a:gd name="T2" fmla="*/ 63 w 152"/>
                <a:gd name="T3" fmla="*/ 787 h 787"/>
                <a:gd name="T4" fmla="*/ 0 w 152"/>
                <a:gd name="T5" fmla="*/ 3 h 787"/>
                <a:gd name="T6" fmla="*/ 27 w 152"/>
                <a:gd name="T7" fmla="*/ 0 h 787"/>
                <a:gd name="T8" fmla="*/ 88 w 152"/>
                <a:gd name="T9" fmla="*/ 760 h 787"/>
                <a:gd name="T10" fmla="*/ 118 w 152"/>
                <a:gd name="T11" fmla="*/ 760 h 787"/>
                <a:gd name="T12" fmla="*/ 125 w 152"/>
                <a:gd name="T13" fmla="*/ 264 h 787"/>
                <a:gd name="T14" fmla="*/ 152 w 152"/>
                <a:gd name="T15" fmla="*/ 265 h 787"/>
                <a:gd name="T16" fmla="*/ 145 w 152"/>
                <a:gd name="T17" fmla="*/ 787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787">
                  <a:moveTo>
                    <a:pt x="145" y="787"/>
                  </a:moveTo>
                  <a:lnTo>
                    <a:pt x="63" y="787"/>
                  </a:lnTo>
                  <a:lnTo>
                    <a:pt x="0" y="3"/>
                  </a:lnTo>
                  <a:lnTo>
                    <a:pt x="27" y="0"/>
                  </a:lnTo>
                  <a:lnTo>
                    <a:pt x="88" y="760"/>
                  </a:lnTo>
                  <a:lnTo>
                    <a:pt x="118" y="760"/>
                  </a:lnTo>
                  <a:lnTo>
                    <a:pt x="125" y="264"/>
                  </a:lnTo>
                  <a:lnTo>
                    <a:pt x="152" y="265"/>
                  </a:lnTo>
                  <a:lnTo>
                    <a:pt x="145" y="787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5" name="Freeform 48"/>
            <p:cNvSpPr>
              <a:spLocks noEditPoints="1"/>
            </p:cNvSpPr>
            <p:nvPr/>
          </p:nvSpPr>
          <p:spPr bwMode="auto">
            <a:xfrm>
              <a:off x="5974472" y="3201130"/>
              <a:ext cx="342900" cy="220663"/>
            </a:xfrm>
            <a:custGeom>
              <a:avLst/>
              <a:gdLst>
                <a:gd name="T0" fmla="*/ 26 w 216"/>
                <a:gd name="T1" fmla="*/ 139 h 139"/>
                <a:gd name="T2" fmla="*/ 0 w 216"/>
                <a:gd name="T3" fmla="*/ 71 h 139"/>
                <a:gd name="T4" fmla="*/ 190 w 216"/>
                <a:gd name="T5" fmla="*/ 0 h 139"/>
                <a:gd name="T6" fmla="*/ 216 w 216"/>
                <a:gd name="T7" fmla="*/ 69 h 139"/>
                <a:gd name="T8" fmla="*/ 26 w 216"/>
                <a:gd name="T9" fmla="*/ 139 h 139"/>
                <a:gd name="T10" fmla="*/ 36 w 216"/>
                <a:gd name="T11" fmla="*/ 86 h 139"/>
                <a:gd name="T12" fmla="*/ 42 w 216"/>
                <a:gd name="T13" fmla="*/ 104 h 139"/>
                <a:gd name="T14" fmla="*/ 180 w 216"/>
                <a:gd name="T15" fmla="*/ 53 h 139"/>
                <a:gd name="T16" fmla="*/ 174 w 216"/>
                <a:gd name="T17" fmla="*/ 35 h 139"/>
                <a:gd name="T18" fmla="*/ 36 w 216"/>
                <a:gd name="T19" fmla="*/ 86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139">
                  <a:moveTo>
                    <a:pt x="26" y="139"/>
                  </a:moveTo>
                  <a:lnTo>
                    <a:pt x="0" y="71"/>
                  </a:lnTo>
                  <a:lnTo>
                    <a:pt x="190" y="0"/>
                  </a:lnTo>
                  <a:lnTo>
                    <a:pt x="216" y="69"/>
                  </a:lnTo>
                  <a:lnTo>
                    <a:pt x="26" y="139"/>
                  </a:lnTo>
                  <a:close/>
                  <a:moveTo>
                    <a:pt x="36" y="86"/>
                  </a:moveTo>
                  <a:lnTo>
                    <a:pt x="42" y="104"/>
                  </a:lnTo>
                  <a:lnTo>
                    <a:pt x="180" y="53"/>
                  </a:lnTo>
                  <a:lnTo>
                    <a:pt x="174" y="35"/>
                  </a:lnTo>
                  <a:lnTo>
                    <a:pt x="36" y="86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6" name="Freeform 49"/>
            <p:cNvSpPr>
              <a:spLocks/>
            </p:cNvSpPr>
            <p:nvPr/>
          </p:nvSpPr>
          <p:spPr bwMode="auto">
            <a:xfrm>
              <a:off x="5980822" y="3134455"/>
              <a:ext cx="277813" cy="192088"/>
            </a:xfrm>
            <a:custGeom>
              <a:avLst/>
              <a:gdLst>
                <a:gd name="T0" fmla="*/ 18 w 206"/>
                <a:gd name="T1" fmla="*/ 142 h 142"/>
                <a:gd name="T2" fmla="*/ 80 w 206"/>
                <a:gd name="T3" fmla="*/ 19 h 142"/>
                <a:gd name="T4" fmla="*/ 206 w 206"/>
                <a:gd name="T5" fmla="*/ 72 h 142"/>
                <a:gd name="T6" fmla="*/ 176 w 206"/>
                <a:gd name="T7" fmla="*/ 83 h 142"/>
                <a:gd name="T8" fmla="*/ 91 w 206"/>
                <a:gd name="T9" fmla="*/ 49 h 142"/>
                <a:gd name="T10" fmla="*/ 48 w 206"/>
                <a:gd name="T11" fmla="*/ 131 h 142"/>
                <a:gd name="T12" fmla="*/ 18 w 206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142">
                  <a:moveTo>
                    <a:pt x="18" y="142"/>
                  </a:moveTo>
                  <a:cubicBezTo>
                    <a:pt x="0" y="94"/>
                    <a:pt x="28" y="39"/>
                    <a:pt x="80" y="19"/>
                  </a:cubicBezTo>
                  <a:cubicBezTo>
                    <a:pt x="132" y="0"/>
                    <a:pt x="188" y="24"/>
                    <a:pt x="206" y="72"/>
                  </a:cubicBezTo>
                  <a:cubicBezTo>
                    <a:pt x="176" y="83"/>
                    <a:pt x="176" y="83"/>
                    <a:pt x="176" y="83"/>
                  </a:cubicBezTo>
                  <a:cubicBezTo>
                    <a:pt x="165" y="52"/>
                    <a:pt x="126" y="36"/>
                    <a:pt x="91" y="49"/>
                  </a:cubicBezTo>
                  <a:cubicBezTo>
                    <a:pt x="56" y="63"/>
                    <a:pt x="37" y="99"/>
                    <a:pt x="48" y="131"/>
                  </a:cubicBezTo>
                  <a:lnTo>
                    <a:pt x="18" y="142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7" name="Freeform 50"/>
            <p:cNvSpPr>
              <a:spLocks/>
            </p:cNvSpPr>
            <p:nvPr/>
          </p:nvSpPr>
          <p:spPr bwMode="auto">
            <a:xfrm>
              <a:off x="6077660" y="3182080"/>
              <a:ext cx="77788" cy="106363"/>
            </a:xfrm>
            <a:custGeom>
              <a:avLst/>
              <a:gdLst>
                <a:gd name="T0" fmla="*/ 24 w 49"/>
                <a:gd name="T1" fmla="*/ 67 h 67"/>
                <a:gd name="T2" fmla="*/ 0 w 49"/>
                <a:gd name="T3" fmla="*/ 10 h 67"/>
                <a:gd name="T4" fmla="*/ 26 w 49"/>
                <a:gd name="T5" fmla="*/ 0 h 67"/>
                <a:gd name="T6" fmla="*/ 49 w 49"/>
                <a:gd name="T7" fmla="*/ 57 h 67"/>
                <a:gd name="T8" fmla="*/ 24 w 49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7">
                  <a:moveTo>
                    <a:pt x="24" y="67"/>
                  </a:moveTo>
                  <a:lnTo>
                    <a:pt x="0" y="10"/>
                  </a:lnTo>
                  <a:lnTo>
                    <a:pt x="26" y="0"/>
                  </a:lnTo>
                  <a:lnTo>
                    <a:pt x="49" y="57"/>
                  </a:lnTo>
                  <a:lnTo>
                    <a:pt x="24" y="67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8" name="Freeform 51"/>
            <p:cNvSpPr>
              <a:spLocks/>
            </p:cNvSpPr>
            <p:nvPr/>
          </p:nvSpPr>
          <p:spPr bwMode="auto">
            <a:xfrm>
              <a:off x="5979235" y="3758343"/>
              <a:ext cx="377825" cy="600075"/>
            </a:xfrm>
            <a:custGeom>
              <a:avLst/>
              <a:gdLst>
                <a:gd name="T0" fmla="*/ 20 w 238"/>
                <a:gd name="T1" fmla="*/ 378 h 378"/>
                <a:gd name="T2" fmla="*/ 0 w 238"/>
                <a:gd name="T3" fmla="*/ 302 h 378"/>
                <a:gd name="T4" fmla="*/ 211 w 238"/>
                <a:gd name="T5" fmla="*/ 238 h 378"/>
                <a:gd name="T6" fmla="*/ 211 w 238"/>
                <a:gd name="T7" fmla="*/ 0 h 378"/>
                <a:gd name="T8" fmla="*/ 238 w 238"/>
                <a:gd name="T9" fmla="*/ 0 h 378"/>
                <a:gd name="T10" fmla="*/ 238 w 238"/>
                <a:gd name="T11" fmla="*/ 259 h 378"/>
                <a:gd name="T12" fmla="*/ 33 w 238"/>
                <a:gd name="T13" fmla="*/ 321 h 378"/>
                <a:gd name="T14" fmla="*/ 47 w 238"/>
                <a:gd name="T15" fmla="*/ 371 h 378"/>
                <a:gd name="T16" fmla="*/ 20 w 238"/>
                <a:gd name="T17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8" h="378">
                  <a:moveTo>
                    <a:pt x="20" y="378"/>
                  </a:moveTo>
                  <a:lnTo>
                    <a:pt x="0" y="302"/>
                  </a:lnTo>
                  <a:lnTo>
                    <a:pt x="211" y="238"/>
                  </a:lnTo>
                  <a:lnTo>
                    <a:pt x="211" y="0"/>
                  </a:lnTo>
                  <a:lnTo>
                    <a:pt x="238" y="0"/>
                  </a:lnTo>
                  <a:lnTo>
                    <a:pt x="238" y="259"/>
                  </a:lnTo>
                  <a:lnTo>
                    <a:pt x="33" y="321"/>
                  </a:lnTo>
                  <a:lnTo>
                    <a:pt x="47" y="371"/>
                  </a:lnTo>
                  <a:lnTo>
                    <a:pt x="20" y="378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59" name="Freeform 52"/>
            <p:cNvSpPr>
              <a:spLocks/>
            </p:cNvSpPr>
            <p:nvPr/>
          </p:nvSpPr>
          <p:spPr bwMode="auto">
            <a:xfrm>
              <a:off x="5907797" y="3845655"/>
              <a:ext cx="96838" cy="142875"/>
            </a:xfrm>
            <a:custGeom>
              <a:avLst/>
              <a:gdLst>
                <a:gd name="T0" fmla="*/ 16 w 61"/>
                <a:gd name="T1" fmla="*/ 90 h 90"/>
                <a:gd name="T2" fmla="*/ 0 w 61"/>
                <a:gd name="T3" fmla="*/ 82 h 90"/>
                <a:gd name="T4" fmla="*/ 46 w 61"/>
                <a:gd name="T5" fmla="*/ 0 h 90"/>
                <a:gd name="T6" fmla="*/ 61 w 61"/>
                <a:gd name="T7" fmla="*/ 9 h 90"/>
                <a:gd name="T8" fmla="*/ 16 w 61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90">
                  <a:moveTo>
                    <a:pt x="16" y="90"/>
                  </a:moveTo>
                  <a:lnTo>
                    <a:pt x="0" y="82"/>
                  </a:lnTo>
                  <a:lnTo>
                    <a:pt x="46" y="0"/>
                  </a:lnTo>
                  <a:lnTo>
                    <a:pt x="61" y="9"/>
                  </a:lnTo>
                  <a:lnTo>
                    <a:pt x="16" y="90"/>
                  </a:lnTo>
                  <a:close/>
                </a:path>
              </a:pathLst>
            </a:custGeom>
            <a:solidFill>
              <a:srgbClr val="5F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0" name="Freeform 53"/>
            <p:cNvSpPr>
              <a:spLocks/>
            </p:cNvSpPr>
            <p:nvPr/>
          </p:nvSpPr>
          <p:spPr bwMode="auto">
            <a:xfrm>
              <a:off x="5849060" y="3982180"/>
              <a:ext cx="98425" cy="66675"/>
            </a:xfrm>
            <a:custGeom>
              <a:avLst/>
              <a:gdLst>
                <a:gd name="T0" fmla="*/ 52 w 73"/>
                <a:gd name="T1" fmla="*/ 49 h 49"/>
                <a:gd name="T2" fmla="*/ 34 w 73"/>
                <a:gd name="T3" fmla="*/ 28 h 49"/>
                <a:gd name="T4" fmla="*/ 8 w 73"/>
                <a:gd name="T5" fmla="*/ 25 h 49"/>
                <a:gd name="T6" fmla="*/ 0 w 73"/>
                <a:gd name="T7" fmla="*/ 5 h 49"/>
                <a:gd name="T8" fmla="*/ 44 w 73"/>
                <a:gd name="T9" fmla="*/ 9 h 49"/>
                <a:gd name="T10" fmla="*/ 73 w 73"/>
                <a:gd name="T11" fmla="*/ 46 h 49"/>
                <a:gd name="T12" fmla="*/ 52 w 73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49">
                  <a:moveTo>
                    <a:pt x="52" y="49"/>
                  </a:moveTo>
                  <a:cubicBezTo>
                    <a:pt x="51" y="41"/>
                    <a:pt x="44" y="33"/>
                    <a:pt x="34" y="28"/>
                  </a:cubicBezTo>
                  <a:cubicBezTo>
                    <a:pt x="25" y="23"/>
                    <a:pt x="15" y="22"/>
                    <a:pt x="8" y="2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3" y="0"/>
                    <a:pt x="29" y="1"/>
                    <a:pt x="44" y="9"/>
                  </a:cubicBezTo>
                  <a:cubicBezTo>
                    <a:pt x="60" y="17"/>
                    <a:pt x="70" y="31"/>
                    <a:pt x="73" y="46"/>
                  </a:cubicBezTo>
                  <a:lnTo>
                    <a:pt x="52" y="4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1" name="Freeform 54"/>
            <p:cNvSpPr>
              <a:spLocks/>
            </p:cNvSpPr>
            <p:nvPr/>
          </p:nvSpPr>
          <p:spPr bwMode="auto">
            <a:xfrm>
              <a:off x="5742697" y="3950430"/>
              <a:ext cx="179388" cy="325438"/>
            </a:xfrm>
            <a:custGeom>
              <a:avLst/>
              <a:gdLst>
                <a:gd name="T0" fmla="*/ 89 w 113"/>
                <a:gd name="T1" fmla="*/ 205 h 205"/>
                <a:gd name="T2" fmla="*/ 0 w 113"/>
                <a:gd name="T3" fmla="*/ 11 h 205"/>
                <a:gd name="T4" fmla="*/ 25 w 113"/>
                <a:gd name="T5" fmla="*/ 0 h 205"/>
                <a:gd name="T6" fmla="*/ 113 w 113"/>
                <a:gd name="T7" fmla="*/ 194 h 205"/>
                <a:gd name="T8" fmla="*/ 89 w 113"/>
                <a:gd name="T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205">
                  <a:moveTo>
                    <a:pt x="89" y="205"/>
                  </a:moveTo>
                  <a:lnTo>
                    <a:pt x="0" y="11"/>
                  </a:lnTo>
                  <a:lnTo>
                    <a:pt x="25" y="0"/>
                  </a:lnTo>
                  <a:lnTo>
                    <a:pt x="113" y="194"/>
                  </a:lnTo>
                  <a:lnTo>
                    <a:pt x="89" y="205"/>
                  </a:lnTo>
                  <a:close/>
                </a:path>
              </a:pathLst>
            </a:custGeom>
            <a:solidFill>
              <a:srgbClr val="8074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2" name="Freeform 55"/>
            <p:cNvSpPr>
              <a:spLocks/>
            </p:cNvSpPr>
            <p:nvPr/>
          </p:nvSpPr>
          <p:spPr bwMode="auto">
            <a:xfrm>
              <a:off x="5887160" y="4258405"/>
              <a:ext cx="69850" cy="122238"/>
            </a:xfrm>
            <a:custGeom>
              <a:avLst/>
              <a:gdLst>
                <a:gd name="T0" fmla="*/ 8 w 52"/>
                <a:gd name="T1" fmla="*/ 91 h 91"/>
                <a:gd name="T2" fmla="*/ 7 w 52"/>
                <a:gd name="T3" fmla="*/ 38 h 91"/>
                <a:gd name="T4" fmla="*/ 44 w 52"/>
                <a:gd name="T5" fmla="*/ 0 h 91"/>
                <a:gd name="T6" fmla="*/ 52 w 52"/>
                <a:gd name="T7" fmla="*/ 19 h 91"/>
                <a:gd name="T8" fmla="*/ 27 w 52"/>
                <a:gd name="T9" fmla="*/ 46 h 91"/>
                <a:gd name="T10" fmla="*/ 28 w 52"/>
                <a:gd name="T11" fmla="*/ 82 h 91"/>
                <a:gd name="T12" fmla="*/ 8 w 52"/>
                <a:gd name="T1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91">
                  <a:moveTo>
                    <a:pt x="8" y="91"/>
                  </a:moveTo>
                  <a:cubicBezTo>
                    <a:pt x="1" y="74"/>
                    <a:pt x="0" y="55"/>
                    <a:pt x="7" y="38"/>
                  </a:cubicBezTo>
                  <a:cubicBezTo>
                    <a:pt x="13" y="21"/>
                    <a:pt x="27" y="7"/>
                    <a:pt x="44" y="0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0" y="24"/>
                    <a:pt x="31" y="34"/>
                    <a:pt x="27" y="46"/>
                  </a:cubicBezTo>
                  <a:cubicBezTo>
                    <a:pt x="22" y="58"/>
                    <a:pt x="22" y="71"/>
                    <a:pt x="28" y="82"/>
                  </a:cubicBezTo>
                  <a:lnTo>
                    <a:pt x="8" y="9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3" name="Freeform 56"/>
            <p:cNvSpPr>
              <a:spLocks/>
            </p:cNvSpPr>
            <p:nvPr/>
          </p:nvSpPr>
          <p:spPr bwMode="auto">
            <a:xfrm>
              <a:off x="6052260" y="3361468"/>
              <a:ext cx="212725" cy="265113"/>
            </a:xfrm>
            <a:custGeom>
              <a:avLst/>
              <a:gdLst>
                <a:gd name="T0" fmla="*/ 140 w 158"/>
                <a:gd name="T1" fmla="*/ 197 h 197"/>
                <a:gd name="T2" fmla="*/ 109 w 158"/>
                <a:gd name="T3" fmla="*/ 141 h 197"/>
                <a:gd name="T4" fmla="*/ 57 w 158"/>
                <a:gd name="T5" fmla="*/ 137 h 197"/>
                <a:gd name="T6" fmla="*/ 4 w 158"/>
                <a:gd name="T7" fmla="*/ 29 h 197"/>
                <a:gd name="T8" fmla="*/ 0 w 158"/>
                <a:gd name="T9" fmla="*/ 4 h 197"/>
                <a:gd name="T10" fmla="*/ 21 w 158"/>
                <a:gd name="T11" fmla="*/ 0 h 197"/>
                <a:gd name="T12" fmla="*/ 25 w 158"/>
                <a:gd name="T13" fmla="*/ 27 h 197"/>
                <a:gd name="T14" fmla="*/ 65 w 158"/>
                <a:gd name="T15" fmla="*/ 117 h 197"/>
                <a:gd name="T16" fmla="*/ 109 w 158"/>
                <a:gd name="T17" fmla="*/ 118 h 197"/>
                <a:gd name="T18" fmla="*/ 118 w 158"/>
                <a:gd name="T19" fmla="*/ 113 h 197"/>
                <a:gd name="T20" fmla="*/ 158 w 158"/>
                <a:gd name="T21" fmla="*/ 187 h 197"/>
                <a:gd name="T22" fmla="*/ 140 w 158"/>
                <a:gd name="T23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8" h="197">
                  <a:moveTo>
                    <a:pt x="140" y="197"/>
                  </a:moveTo>
                  <a:cubicBezTo>
                    <a:pt x="109" y="141"/>
                    <a:pt x="109" y="141"/>
                    <a:pt x="109" y="141"/>
                  </a:cubicBezTo>
                  <a:cubicBezTo>
                    <a:pt x="98" y="144"/>
                    <a:pt x="79" y="146"/>
                    <a:pt x="57" y="137"/>
                  </a:cubicBezTo>
                  <a:cubicBezTo>
                    <a:pt x="15" y="119"/>
                    <a:pt x="9" y="67"/>
                    <a:pt x="4" y="29"/>
                  </a:cubicBezTo>
                  <a:cubicBezTo>
                    <a:pt x="2" y="20"/>
                    <a:pt x="1" y="11"/>
                    <a:pt x="0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7"/>
                    <a:pt x="23" y="17"/>
                    <a:pt x="25" y="27"/>
                  </a:cubicBezTo>
                  <a:cubicBezTo>
                    <a:pt x="29" y="61"/>
                    <a:pt x="35" y="104"/>
                    <a:pt x="65" y="117"/>
                  </a:cubicBezTo>
                  <a:cubicBezTo>
                    <a:pt x="90" y="128"/>
                    <a:pt x="109" y="118"/>
                    <a:pt x="109" y="118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58" y="187"/>
                    <a:pt x="158" y="187"/>
                    <a:pt x="158" y="187"/>
                  </a:cubicBezTo>
                  <a:lnTo>
                    <a:pt x="140" y="19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4" name="Freeform 57"/>
            <p:cNvSpPr>
              <a:spLocks/>
            </p:cNvSpPr>
            <p:nvPr/>
          </p:nvSpPr>
          <p:spPr bwMode="auto">
            <a:xfrm>
              <a:off x="6107822" y="3590068"/>
              <a:ext cx="347663" cy="698500"/>
            </a:xfrm>
            <a:custGeom>
              <a:avLst/>
              <a:gdLst>
                <a:gd name="T0" fmla="*/ 9 w 258"/>
                <a:gd name="T1" fmla="*/ 518 h 518"/>
                <a:gd name="T2" fmla="*/ 2 w 258"/>
                <a:gd name="T3" fmla="*/ 216 h 518"/>
                <a:gd name="T4" fmla="*/ 164 w 258"/>
                <a:gd name="T5" fmla="*/ 1 h 518"/>
                <a:gd name="T6" fmla="*/ 168 w 258"/>
                <a:gd name="T7" fmla="*/ 0 h 518"/>
                <a:gd name="T8" fmla="*/ 172 w 258"/>
                <a:gd name="T9" fmla="*/ 1 h 518"/>
                <a:gd name="T10" fmla="*/ 258 w 258"/>
                <a:gd name="T11" fmla="*/ 115 h 518"/>
                <a:gd name="T12" fmla="*/ 226 w 258"/>
                <a:gd name="T13" fmla="*/ 118 h 518"/>
                <a:gd name="T14" fmla="*/ 168 w 258"/>
                <a:gd name="T15" fmla="*/ 33 h 518"/>
                <a:gd name="T16" fmla="*/ 34 w 258"/>
                <a:gd name="T17" fmla="*/ 215 h 518"/>
                <a:gd name="T18" fmla="*/ 41 w 258"/>
                <a:gd name="T19" fmla="*/ 517 h 518"/>
                <a:gd name="T20" fmla="*/ 9 w 258"/>
                <a:gd name="T21" fmla="*/ 518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518">
                  <a:moveTo>
                    <a:pt x="9" y="518"/>
                  </a:moveTo>
                  <a:cubicBezTo>
                    <a:pt x="9" y="515"/>
                    <a:pt x="3" y="254"/>
                    <a:pt x="2" y="216"/>
                  </a:cubicBezTo>
                  <a:cubicBezTo>
                    <a:pt x="0" y="169"/>
                    <a:pt x="108" y="17"/>
                    <a:pt x="164" y="1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72" y="1"/>
                    <a:pt x="172" y="1"/>
                    <a:pt x="172" y="1"/>
                  </a:cubicBezTo>
                  <a:cubicBezTo>
                    <a:pt x="235" y="17"/>
                    <a:pt x="255" y="89"/>
                    <a:pt x="258" y="115"/>
                  </a:cubicBezTo>
                  <a:cubicBezTo>
                    <a:pt x="226" y="118"/>
                    <a:pt x="226" y="118"/>
                    <a:pt x="226" y="118"/>
                  </a:cubicBezTo>
                  <a:cubicBezTo>
                    <a:pt x="224" y="100"/>
                    <a:pt x="210" y="47"/>
                    <a:pt x="168" y="33"/>
                  </a:cubicBezTo>
                  <a:cubicBezTo>
                    <a:pt x="123" y="52"/>
                    <a:pt x="33" y="186"/>
                    <a:pt x="34" y="215"/>
                  </a:cubicBezTo>
                  <a:cubicBezTo>
                    <a:pt x="35" y="253"/>
                    <a:pt x="41" y="514"/>
                    <a:pt x="41" y="517"/>
                  </a:cubicBezTo>
                  <a:lnTo>
                    <a:pt x="9" y="518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65" name="Freeform 58"/>
            <p:cNvSpPr>
              <a:spLocks/>
            </p:cNvSpPr>
            <p:nvPr/>
          </p:nvSpPr>
          <p:spPr bwMode="auto">
            <a:xfrm>
              <a:off x="5968122" y="3985355"/>
              <a:ext cx="131763" cy="139700"/>
            </a:xfrm>
            <a:custGeom>
              <a:avLst/>
              <a:gdLst>
                <a:gd name="T0" fmla="*/ 14 w 83"/>
                <a:gd name="T1" fmla="*/ 88 h 88"/>
                <a:gd name="T2" fmla="*/ 0 w 83"/>
                <a:gd name="T3" fmla="*/ 13 h 88"/>
                <a:gd name="T4" fmla="*/ 78 w 83"/>
                <a:gd name="T5" fmla="*/ 0 h 88"/>
                <a:gd name="T6" fmla="*/ 83 w 83"/>
                <a:gd name="T7" fmla="*/ 27 h 88"/>
                <a:gd name="T8" fmla="*/ 32 w 83"/>
                <a:gd name="T9" fmla="*/ 35 h 88"/>
                <a:gd name="T10" fmla="*/ 41 w 83"/>
                <a:gd name="T11" fmla="*/ 82 h 88"/>
                <a:gd name="T12" fmla="*/ 14 w 83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8">
                  <a:moveTo>
                    <a:pt x="14" y="88"/>
                  </a:moveTo>
                  <a:lnTo>
                    <a:pt x="0" y="13"/>
                  </a:lnTo>
                  <a:lnTo>
                    <a:pt x="78" y="0"/>
                  </a:lnTo>
                  <a:lnTo>
                    <a:pt x="83" y="27"/>
                  </a:lnTo>
                  <a:lnTo>
                    <a:pt x="32" y="35"/>
                  </a:lnTo>
                  <a:lnTo>
                    <a:pt x="41" y="82"/>
                  </a:lnTo>
                  <a:lnTo>
                    <a:pt x="14" y="88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74" name="Freeform 67"/>
          <p:cNvSpPr>
            <a:spLocks/>
          </p:cNvSpPr>
          <p:nvPr/>
        </p:nvSpPr>
        <p:spPr bwMode="auto">
          <a:xfrm>
            <a:off x="2586570" y="4126760"/>
            <a:ext cx="2101454" cy="0"/>
          </a:xfrm>
          <a:custGeom>
            <a:avLst/>
            <a:gdLst>
              <a:gd name="T0" fmla="*/ 0 w 1765"/>
              <a:gd name="T1" fmla="*/ 1765 w 1765"/>
              <a:gd name="T2" fmla="*/ 0 w 1765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1765">
                <a:moveTo>
                  <a:pt x="0" y="0"/>
                </a:moveTo>
                <a:lnTo>
                  <a:pt x="1765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grpSp>
        <p:nvGrpSpPr>
          <p:cNvPr id="83" name="Group 82"/>
          <p:cNvGrpSpPr/>
          <p:nvPr/>
        </p:nvGrpSpPr>
        <p:grpSpPr>
          <a:xfrm>
            <a:off x="3637297" y="3267738"/>
            <a:ext cx="2089547" cy="1073944"/>
            <a:chOff x="4808538" y="1501775"/>
            <a:chExt cx="2976562" cy="1552575"/>
          </a:xfrm>
        </p:grpSpPr>
        <p:sp>
          <p:nvSpPr>
            <p:cNvPr id="84" name="Rectangle 5"/>
            <p:cNvSpPr>
              <a:spLocks noChangeArrowheads="1"/>
            </p:cNvSpPr>
            <p:nvPr/>
          </p:nvSpPr>
          <p:spPr bwMode="auto">
            <a:xfrm flipV="1">
              <a:off x="4808538" y="3008631"/>
              <a:ext cx="2976562" cy="45719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5" name="Freeform 6"/>
            <p:cNvSpPr>
              <a:spLocks noEditPoints="1"/>
            </p:cNvSpPr>
            <p:nvPr/>
          </p:nvSpPr>
          <p:spPr bwMode="auto">
            <a:xfrm>
              <a:off x="6975476" y="2717800"/>
              <a:ext cx="307975" cy="306388"/>
            </a:xfrm>
            <a:custGeom>
              <a:avLst/>
              <a:gdLst>
                <a:gd name="T0" fmla="*/ 71 w 142"/>
                <a:gd name="T1" fmla="*/ 141 h 141"/>
                <a:gd name="T2" fmla="*/ 0 w 142"/>
                <a:gd name="T3" fmla="*/ 70 h 141"/>
                <a:gd name="T4" fmla="*/ 71 w 142"/>
                <a:gd name="T5" fmla="*/ 0 h 141"/>
                <a:gd name="T6" fmla="*/ 142 w 142"/>
                <a:gd name="T7" fmla="*/ 70 h 141"/>
                <a:gd name="T8" fmla="*/ 71 w 142"/>
                <a:gd name="T9" fmla="*/ 141 h 141"/>
                <a:gd name="T10" fmla="*/ 71 w 142"/>
                <a:gd name="T11" fmla="*/ 10 h 141"/>
                <a:gd name="T12" fmla="*/ 11 w 142"/>
                <a:gd name="T13" fmla="*/ 70 h 141"/>
                <a:gd name="T14" fmla="*/ 71 w 142"/>
                <a:gd name="T15" fmla="*/ 131 h 141"/>
                <a:gd name="T16" fmla="*/ 131 w 142"/>
                <a:gd name="T17" fmla="*/ 70 h 141"/>
                <a:gd name="T18" fmla="*/ 71 w 142"/>
                <a:gd name="T19" fmla="*/ 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41">
                  <a:moveTo>
                    <a:pt x="71" y="141"/>
                  </a:moveTo>
                  <a:cubicBezTo>
                    <a:pt x="32" y="141"/>
                    <a:pt x="0" y="109"/>
                    <a:pt x="0" y="70"/>
                  </a:cubicBezTo>
                  <a:cubicBezTo>
                    <a:pt x="0" y="31"/>
                    <a:pt x="32" y="0"/>
                    <a:pt x="71" y="0"/>
                  </a:cubicBezTo>
                  <a:cubicBezTo>
                    <a:pt x="110" y="0"/>
                    <a:pt x="142" y="31"/>
                    <a:pt x="142" y="70"/>
                  </a:cubicBezTo>
                  <a:cubicBezTo>
                    <a:pt x="142" y="109"/>
                    <a:pt x="110" y="141"/>
                    <a:pt x="71" y="141"/>
                  </a:cubicBezTo>
                  <a:close/>
                  <a:moveTo>
                    <a:pt x="71" y="10"/>
                  </a:moveTo>
                  <a:cubicBezTo>
                    <a:pt x="38" y="10"/>
                    <a:pt x="11" y="37"/>
                    <a:pt x="11" y="70"/>
                  </a:cubicBezTo>
                  <a:cubicBezTo>
                    <a:pt x="11" y="104"/>
                    <a:pt x="38" y="131"/>
                    <a:pt x="71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7"/>
                    <a:pt x="104" y="10"/>
                    <a:pt x="71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6" name="Freeform 7"/>
            <p:cNvSpPr>
              <a:spLocks/>
            </p:cNvSpPr>
            <p:nvPr/>
          </p:nvSpPr>
          <p:spPr bwMode="auto">
            <a:xfrm>
              <a:off x="7059613" y="2801938"/>
              <a:ext cx="139700" cy="68263"/>
            </a:xfrm>
            <a:custGeom>
              <a:avLst/>
              <a:gdLst>
                <a:gd name="T0" fmla="*/ 64 w 64"/>
                <a:gd name="T1" fmla="*/ 31 h 31"/>
                <a:gd name="T2" fmla="*/ 57 w 64"/>
                <a:gd name="T3" fmla="*/ 31 h 31"/>
                <a:gd name="T4" fmla="*/ 32 w 64"/>
                <a:gd name="T5" fmla="*/ 6 h 31"/>
                <a:gd name="T6" fmla="*/ 7 w 64"/>
                <a:gd name="T7" fmla="*/ 31 h 31"/>
                <a:gd name="T8" fmla="*/ 0 w 64"/>
                <a:gd name="T9" fmla="*/ 31 h 31"/>
                <a:gd name="T10" fmla="*/ 32 w 64"/>
                <a:gd name="T11" fmla="*/ 0 h 31"/>
                <a:gd name="T12" fmla="*/ 64 w 64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31">
                  <a:moveTo>
                    <a:pt x="64" y="31"/>
                  </a:moveTo>
                  <a:cubicBezTo>
                    <a:pt x="57" y="31"/>
                    <a:pt x="57" y="31"/>
                    <a:pt x="57" y="31"/>
                  </a:cubicBezTo>
                  <a:cubicBezTo>
                    <a:pt x="57" y="18"/>
                    <a:pt x="46" y="6"/>
                    <a:pt x="32" y="6"/>
                  </a:cubicBezTo>
                  <a:cubicBezTo>
                    <a:pt x="18" y="6"/>
                    <a:pt x="7" y="18"/>
                    <a:pt x="7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5" y="0"/>
                    <a:pt x="32" y="0"/>
                  </a:cubicBezTo>
                  <a:cubicBezTo>
                    <a:pt x="50" y="0"/>
                    <a:pt x="64" y="14"/>
                    <a:pt x="64" y="3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7" name="Freeform 8"/>
            <p:cNvSpPr>
              <a:spLocks noEditPoints="1"/>
            </p:cNvSpPr>
            <p:nvPr/>
          </p:nvSpPr>
          <p:spPr bwMode="auto">
            <a:xfrm>
              <a:off x="6661151" y="2717800"/>
              <a:ext cx="304800" cy="306388"/>
            </a:xfrm>
            <a:custGeom>
              <a:avLst/>
              <a:gdLst>
                <a:gd name="T0" fmla="*/ 71 w 141"/>
                <a:gd name="T1" fmla="*/ 141 h 141"/>
                <a:gd name="T2" fmla="*/ 0 w 141"/>
                <a:gd name="T3" fmla="*/ 70 h 141"/>
                <a:gd name="T4" fmla="*/ 71 w 141"/>
                <a:gd name="T5" fmla="*/ 0 h 141"/>
                <a:gd name="T6" fmla="*/ 141 w 141"/>
                <a:gd name="T7" fmla="*/ 70 h 141"/>
                <a:gd name="T8" fmla="*/ 71 w 141"/>
                <a:gd name="T9" fmla="*/ 141 h 141"/>
                <a:gd name="T10" fmla="*/ 71 w 141"/>
                <a:gd name="T11" fmla="*/ 10 h 141"/>
                <a:gd name="T12" fmla="*/ 10 w 141"/>
                <a:gd name="T13" fmla="*/ 70 h 141"/>
                <a:gd name="T14" fmla="*/ 71 w 141"/>
                <a:gd name="T15" fmla="*/ 131 h 141"/>
                <a:gd name="T16" fmla="*/ 131 w 141"/>
                <a:gd name="T17" fmla="*/ 70 h 141"/>
                <a:gd name="T18" fmla="*/ 71 w 141"/>
                <a:gd name="T19" fmla="*/ 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1" h="141">
                  <a:moveTo>
                    <a:pt x="71" y="141"/>
                  </a:moveTo>
                  <a:cubicBezTo>
                    <a:pt x="32" y="141"/>
                    <a:pt x="0" y="109"/>
                    <a:pt x="0" y="70"/>
                  </a:cubicBezTo>
                  <a:cubicBezTo>
                    <a:pt x="0" y="31"/>
                    <a:pt x="32" y="0"/>
                    <a:pt x="71" y="0"/>
                  </a:cubicBezTo>
                  <a:cubicBezTo>
                    <a:pt x="110" y="0"/>
                    <a:pt x="141" y="31"/>
                    <a:pt x="141" y="70"/>
                  </a:cubicBezTo>
                  <a:cubicBezTo>
                    <a:pt x="141" y="109"/>
                    <a:pt x="110" y="141"/>
                    <a:pt x="71" y="141"/>
                  </a:cubicBezTo>
                  <a:close/>
                  <a:moveTo>
                    <a:pt x="71" y="10"/>
                  </a:moveTo>
                  <a:cubicBezTo>
                    <a:pt x="37" y="10"/>
                    <a:pt x="10" y="37"/>
                    <a:pt x="10" y="70"/>
                  </a:cubicBezTo>
                  <a:cubicBezTo>
                    <a:pt x="10" y="104"/>
                    <a:pt x="37" y="131"/>
                    <a:pt x="71" y="131"/>
                  </a:cubicBezTo>
                  <a:cubicBezTo>
                    <a:pt x="104" y="131"/>
                    <a:pt x="131" y="104"/>
                    <a:pt x="131" y="70"/>
                  </a:cubicBezTo>
                  <a:cubicBezTo>
                    <a:pt x="131" y="37"/>
                    <a:pt x="104" y="10"/>
                    <a:pt x="71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8" name="Freeform 9"/>
            <p:cNvSpPr>
              <a:spLocks/>
            </p:cNvSpPr>
            <p:nvPr/>
          </p:nvSpPr>
          <p:spPr bwMode="auto">
            <a:xfrm>
              <a:off x="6745288" y="2801938"/>
              <a:ext cx="138113" cy="68263"/>
            </a:xfrm>
            <a:custGeom>
              <a:avLst/>
              <a:gdLst>
                <a:gd name="T0" fmla="*/ 64 w 64"/>
                <a:gd name="T1" fmla="*/ 31 h 31"/>
                <a:gd name="T2" fmla="*/ 57 w 64"/>
                <a:gd name="T3" fmla="*/ 31 h 31"/>
                <a:gd name="T4" fmla="*/ 32 w 64"/>
                <a:gd name="T5" fmla="*/ 6 h 31"/>
                <a:gd name="T6" fmla="*/ 7 w 64"/>
                <a:gd name="T7" fmla="*/ 31 h 31"/>
                <a:gd name="T8" fmla="*/ 0 w 64"/>
                <a:gd name="T9" fmla="*/ 31 h 31"/>
                <a:gd name="T10" fmla="*/ 32 w 64"/>
                <a:gd name="T11" fmla="*/ 0 h 31"/>
                <a:gd name="T12" fmla="*/ 64 w 64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31">
                  <a:moveTo>
                    <a:pt x="64" y="31"/>
                  </a:moveTo>
                  <a:cubicBezTo>
                    <a:pt x="57" y="31"/>
                    <a:pt x="57" y="31"/>
                    <a:pt x="57" y="31"/>
                  </a:cubicBezTo>
                  <a:cubicBezTo>
                    <a:pt x="57" y="18"/>
                    <a:pt x="45" y="6"/>
                    <a:pt x="32" y="6"/>
                  </a:cubicBezTo>
                  <a:cubicBezTo>
                    <a:pt x="18" y="6"/>
                    <a:pt x="7" y="18"/>
                    <a:pt x="7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4" y="14"/>
                    <a:pt x="64" y="3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89" name="Freeform 10"/>
            <p:cNvSpPr>
              <a:spLocks noEditPoints="1"/>
            </p:cNvSpPr>
            <p:nvPr/>
          </p:nvSpPr>
          <p:spPr bwMode="auto">
            <a:xfrm>
              <a:off x="5310188" y="2717800"/>
              <a:ext cx="306388" cy="306388"/>
            </a:xfrm>
            <a:custGeom>
              <a:avLst/>
              <a:gdLst>
                <a:gd name="T0" fmla="*/ 71 w 142"/>
                <a:gd name="T1" fmla="*/ 141 h 141"/>
                <a:gd name="T2" fmla="*/ 0 w 142"/>
                <a:gd name="T3" fmla="*/ 70 h 141"/>
                <a:gd name="T4" fmla="*/ 71 w 142"/>
                <a:gd name="T5" fmla="*/ 0 h 141"/>
                <a:gd name="T6" fmla="*/ 142 w 142"/>
                <a:gd name="T7" fmla="*/ 70 h 141"/>
                <a:gd name="T8" fmla="*/ 71 w 142"/>
                <a:gd name="T9" fmla="*/ 141 h 141"/>
                <a:gd name="T10" fmla="*/ 71 w 142"/>
                <a:gd name="T11" fmla="*/ 10 h 141"/>
                <a:gd name="T12" fmla="*/ 11 w 142"/>
                <a:gd name="T13" fmla="*/ 70 h 141"/>
                <a:gd name="T14" fmla="*/ 71 w 142"/>
                <a:gd name="T15" fmla="*/ 131 h 141"/>
                <a:gd name="T16" fmla="*/ 132 w 142"/>
                <a:gd name="T17" fmla="*/ 70 h 141"/>
                <a:gd name="T18" fmla="*/ 71 w 142"/>
                <a:gd name="T19" fmla="*/ 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41">
                  <a:moveTo>
                    <a:pt x="71" y="141"/>
                  </a:moveTo>
                  <a:cubicBezTo>
                    <a:pt x="32" y="141"/>
                    <a:pt x="0" y="109"/>
                    <a:pt x="0" y="70"/>
                  </a:cubicBezTo>
                  <a:cubicBezTo>
                    <a:pt x="0" y="31"/>
                    <a:pt x="32" y="0"/>
                    <a:pt x="71" y="0"/>
                  </a:cubicBezTo>
                  <a:cubicBezTo>
                    <a:pt x="110" y="0"/>
                    <a:pt x="142" y="31"/>
                    <a:pt x="142" y="70"/>
                  </a:cubicBezTo>
                  <a:cubicBezTo>
                    <a:pt x="142" y="109"/>
                    <a:pt x="110" y="141"/>
                    <a:pt x="71" y="141"/>
                  </a:cubicBezTo>
                  <a:close/>
                  <a:moveTo>
                    <a:pt x="71" y="10"/>
                  </a:moveTo>
                  <a:cubicBezTo>
                    <a:pt x="38" y="10"/>
                    <a:pt x="11" y="37"/>
                    <a:pt x="11" y="70"/>
                  </a:cubicBezTo>
                  <a:cubicBezTo>
                    <a:pt x="11" y="104"/>
                    <a:pt x="38" y="131"/>
                    <a:pt x="71" y="131"/>
                  </a:cubicBezTo>
                  <a:cubicBezTo>
                    <a:pt x="104" y="131"/>
                    <a:pt x="132" y="104"/>
                    <a:pt x="132" y="70"/>
                  </a:cubicBezTo>
                  <a:cubicBezTo>
                    <a:pt x="132" y="37"/>
                    <a:pt x="104" y="10"/>
                    <a:pt x="71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0" name="Freeform 11"/>
            <p:cNvSpPr>
              <a:spLocks/>
            </p:cNvSpPr>
            <p:nvPr/>
          </p:nvSpPr>
          <p:spPr bwMode="auto">
            <a:xfrm>
              <a:off x="5394326" y="2801938"/>
              <a:ext cx="138113" cy="68263"/>
            </a:xfrm>
            <a:custGeom>
              <a:avLst/>
              <a:gdLst>
                <a:gd name="T0" fmla="*/ 64 w 64"/>
                <a:gd name="T1" fmla="*/ 31 h 31"/>
                <a:gd name="T2" fmla="*/ 57 w 64"/>
                <a:gd name="T3" fmla="*/ 31 h 31"/>
                <a:gd name="T4" fmla="*/ 32 w 64"/>
                <a:gd name="T5" fmla="*/ 6 h 31"/>
                <a:gd name="T6" fmla="*/ 7 w 64"/>
                <a:gd name="T7" fmla="*/ 31 h 31"/>
                <a:gd name="T8" fmla="*/ 0 w 64"/>
                <a:gd name="T9" fmla="*/ 31 h 31"/>
                <a:gd name="T10" fmla="*/ 32 w 64"/>
                <a:gd name="T11" fmla="*/ 0 h 31"/>
                <a:gd name="T12" fmla="*/ 64 w 64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31">
                  <a:moveTo>
                    <a:pt x="64" y="31"/>
                  </a:moveTo>
                  <a:cubicBezTo>
                    <a:pt x="57" y="31"/>
                    <a:pt x="57" y="31"/>
                    <a:pt x="57" y="31"/>
                  </a:cubicBezTo>
                  <a:cubicBezTo>
                    <a:pt x="57" y="18"/>
                    <a:pt x="46" y="6"/>
                    <a:pt x="32" y="6"/>
                  </a:cubicBezTo>
                  <a:cubicBezTo>
                    <a:pt x="18" y="6"/>
                    <a:pt x="7" y="18"/>
                    <a:pt x="7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5" y="0"/>
                    <a:pt x="32" y="0"/>
                  </a:cubicBezTo>
                  <a:cubicBezTo>
                    <a:pt x="50" y="0"/>
                    <a:pt x="64" y="14"/>
                    <a:pt x="64" y="3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1" name="Freeform 12"/>
            <p:cNvSpPr>
              <a:spLocks noEditPoints="1"/>
            </p:cNvSpPr>
            <p:nvPr/>
          </p:nvSpPr>
          <p:spPr bwMode="auto">
            <a:xfrm>
              <a:off x="5970588" y="1501775"/>
              <a:ext cx="1693863" cy="1208088"/>
            </a:xfrm>
            <a:custGeom>
              <a:avLst/>
              <a:gdLst>
                <a:gd name="T0" fmla="*/ 1067 w 1067"/>
                <a:gd name="T1" fmla="*/ 761 h 761"/>
                <a:gd name="T2" fmla="*/ 0 w 1067"/>
                <a:gd name="T3" fmla="*/ 761 h 761"/>
                <a:gd name="T4" fmla="*/ 0 w 1067"/>
                <a:gd name="T5" fmla="*/ 0 h 761"/>
                <a:gd name="T6" fmla="*/ 1067 w 1067"/>
                <a:gd name="T7" fmla="*/ 0 h 761"/>
                <a:gd name="T8" fmla="*/ 1067 w 1067"/>
                <a:gd name="T9" fmla="*/ 761 h 761"/>
                <a:gd name="T10" fmla="*/ 19 w 1067"/>
                <a:gd name="T11" fmla="*/ 740 h 761"/>
                <a:gd name="T12" fmla="*/ 1048 w 1067"/>
                <a:gd name="T13" fmla="*/ 740 h 761"/>
                <a:gd name="T14" fmla="*/ 1048 w 1067"/>
                <a:gd name="T15" fmla="*/ 19 h 761"/>
                <a:gd name="T16" fmla="*/ 19 w 1067"/>
                <a:gd name="T17" fmla="*/ 19 h 761"/>
                <a:gd name="T18" fmla="*/ 19 w 1067"/>
                <a:gd name="T19" fmla="*/ 740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7" h="761">
                  <a:moveTo>
                    <a:pt x="1067" y="761"/>
                  </a:moveTo>
                  <a:lnTo>
                    <a:pt x="0" y="761"/>
                  </a:lnTo>
                  <a:lnTo>
                    <a:pt x="0" y="0"/>
                  </a:lnTo>
                  <a:lnTo>
                    <a:pt x="1067" y="0"/>
                  </a:lnTo>
                  <a:lnTo>
                    <a:pt x="1067" y="761"/>
                  </a:lnTo>
                  <a:close/>
                  <a:moveTo>
                    <a:pt x="19" y="740"/>
                  </a:moveTo>
                  <a:lnTo>
                    <a:pt x="1048" y="740"/>
                  </a:lnTo>
                  <a:lnTo>
                    <a:pt x="1048" y="19"/>
                  </a:lnTo>
                  <a:lnTo>
                    <a:pt x="19" y="19"/>
                  </a:lnTo>
                  <a:lnTo>
                    <a:pt x="19" y="740"/>
                  </a:lnTo>
                  <a:close/>
                </a:path>
              </a:pathLst>
            </a:custGeom>
            <a:solidFill>
              <a:srgbClr val="614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2" name="Rectangle 13"/>
            <p:cNvSpPr>
              <a:spLocks noChangeArrowheads="1"/>
            </p:cNvSpPr>
            <p:nvPr/>
          </p:nvSpPr>
          <p:spPr bwMode="auto">
            <a:xfrm>
              <a:off x="6189663" y="2733675"/>
              <a:ext cx="495300" cy="206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3" name="Freeform 14"/>
            <p:cNvSpPr>
              <a:spLocks/>
            </p:cNvSpPr>
            <p:nvPr/>
          </p:nvSpPr>
          <p:spPr bwMode="auto">
            <a:xfrm>
              <a:off x="7451726" y="2560638"/>
              <a:ext cx="38100" cy="30163"/>
            </a:xfrm>
            <a:custGeom>
              <a:avLst/>
              <a:gdLst>
                <a:gd name="T0" fmla="*/ 24 w 24"/>
                <a:gd name="T1" fmla="*/ 0 h 19"/>
                <a:gd name="T2" fmla="*/ 0 w 24"/>
                <a:gd name="T3" fmla="*/ 0 h 19"/>
                <a:gd name="T4" fmla="*/ 0 w 24"/>
                <a:gd name="T5" fmla="*/ 9 h 19"/>
                <a:gd name="T6" fmla="*/ 6 w 24"/>
                <a:gd name="T7" fmla="*/ 9 h 19"/>
                <a:gd name="T8" fmla="*/ 6 w 24"/>
                <a:gd name="T9" fmla="*/ 19 h 19"/>
                <a:gd name="T10" fmla="*/ 16 w 24"/>
                <a:gd name="T11" fmla="*/ 19 h 19"/>
                <a:gd name="T12" fmla="*/ 16 w 24"/>
                <a:gd name="T13" fmla="*/ 9 h 19"/>
                <a:gd name="T14" fmla="*/ 24 w 24"/>
                <a:gd name="T15" fmla="*/ 9 h 19"/>
                <a:gd name="T16" fmla="*/ 24 w 24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9">
                  <a:moveTo>
                    <a:pt x="24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6" y="9"/>
                  </a:lnTo>
                  <a:lnTo>
                    <a:pt x="6" y="19"/>
                  </a:lnTo>
                  <a:lnTo>
                    <a:pt x="16" y="19"/>
                  </a:lnTo>
                  <a:lnTo>
                    <a:pt x="16" y="9"/>
                  </a:lnTo>
                  <a:lnTo>
                    <a:pt x="24" y="9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5F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4" name="Freeform 15"/>
            <p:cNvSpPr>
              <a:spLocks/>
            </p:cNvSpPr>
            <p:nvPr/>
          </p:nvSpPr>
          <p:spPr bwMode="auto">
            <a:xfrm>
              <a:off x="7199313" y="2560638"/>
              <a:ext cx="38100" cy="30163"/>
            </a:xfrm>
            <a:custGeom>
              <a:avLst/>
              <a:gdLst>
                <a:gd name="T0" fmla="*/ 0 w 24"/>
                <a:gd name="T1" fmla="*/ 9 h 19"/>
                <a:gd name="T2" fmla="*/ 8 w 24"/>
                <a:gd name="T3" fmla="*/ 9 h 19"/>
                <a:gd name="T4" fmla="*/ 8 w 24"/>
                <a:gd name="T5" fmla="*/ 19 h 19"/>
                <a:gd name="T6" fmla="*/ 16 w 24"/>
                <a:gd name="T7" fmla="*/ 19 h 19"/>
                <a:gd name="T8" fmla="*/ 16 w 24"/>
                <a:gd name="T9" fmla="*/ 9 h 19"/>
                <a:gd name="T10" fmla="*/ 24 w 24"/>
                <a:gd name="T11" fmla="*/ 9 h 19"/>
                <a:gd name="T12" fmla="*/ 24 w 24"/>
                <a:gd name="T13" fmla="*/ 0 h 19"/>
                <a:gd name="T14" fmla="*/ 0 w 24"/>
                <a:gd name="T15" fmla="*/ 0 h 19"/>
                <a:gd name="T16" fmla="*/ 0 w 24"/>
                <a:gd name="T1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9">
                  <a:moveTo>
                    <a:pt x="0" y="9"/>
                  </a:moveTo>
                  <a:lnTo>
                    <a:pt x="8" y="9"/>
                  </a:lnTo>
                  <a:lnTo>
                    <a:pt x="8" y="19"/>
                  </a:lnTo>
                  <a:lnTo>
                    <a:pt x="16" y="19"/>
                  </a:lnTo>
                  <a:lnTo>
                    <a:pt x="16" y="9"/>
                  </a:lnTo>
                  <a:lnTo>
                    <a:pt x="24" y="9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F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5" name="Freeform 16"/>
            <p:cNvSpPr>
              <a:spLocks/>
            </p:cNvSpPr>
            <p:nvPr/>
          </p:nvSpPr>
          <p:spPr bwMode="auto">
            <a:xfrm>
              <a:off x="6945313" y="2560638"/>
              <a:ext cx="39688" cy="30163"/>
            </a:xfrm>
            <a:custGeom>
              <a:avLst/>
              <a:gdLst>
                <a:gd name="T0" fmla="*/ 0 w 25"/>
                <a:gd name="T1" fmla="*/ 9 h 19"/>
                <a:gd name="T2" fmla="*/ 9 w 25"/>
                <a:gd name="T3" fmla="*/ 9 h 19"/>
                <a:gd name="T4" fmla="*/ 9 w 25"/>
                <a:gd name="T5" fmla="*/ 19 h 19"/>
                <a:gd name="T6" fmla="*/ 18 w 25"/>
                <a:gd name="T7" fmla="*/ 19 h 19"/>
                <a:gd name="T8" fmla="*/ 18 w 25"/>
                <a:gd name="T9" fmla="*/ 9 h 19"/>
                <a:gd name="T10" fmla="*/ 25 w 25"/>
                <a:gd name="T11" fmla="*/ 9 h 19"/>
                <a:gd name="T12" fmla="*/ 25 w 25"/>
                <a:gd name="T13" fmla="*/ 0 h 19"/>
                <a:gd name="T14" fmla="*/ 0 w 25"/>
                <a:gd name="T15" fmla="*/ 0 h 19"/>
                <a:gd name="T16" fmla="*/ 0 w 25"/>
                <a:gd name="T1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9">
                  <a:moveTo>
                    <a:pt x="0" y="9"/>
                  </a:moveTo>
                  <a:lnTo>
                    <a:pt x="9" y="9"/>
                  </a:lnTo>
                  <a:lnTo>
                    <a:pt x="9" y="19"/>
                  </a:lnTo>
                  <a:lnTo>
                    <a:pt x="18" y="19"/>
                  </a:lnTo>
                  <a:lnTo>
                    <a:pt x="18" y="9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F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6" name="Freeform 17"/>
            <p:cNvSpPr>
              <a:spLocks/>
            </p:cNvSpPr>
            <p:nvPr/>
          </p:nvSpPr>
          <p:spPr bwMode="auto">
            <a:xfrm>
              <a:off x="6692901" y="2560638"/>
              <a:ext cx="41275" cy="30163"/>
            </a:xfrm>
            <a:custGeom>
              <a:avLst/>
              <a:gdLst>
                <a:gd name="T0" fmla="*/ 0 w 26"/>
                <a:gd name="T1" fmla="*/ 9 h 19"/>
                <a:gd name="T2" fmla="*/ 8 w 26"/>
                <a:gd name="T3" fmla="*/ 9 h 19"/>
                <a:gd name="T4" fmla="*/ 8 w 26"/>
                <a:gd name="T5" fmla="*/ 19 h 19"/>
                <a:gd name="T6" fmla="*/ 18 w 26"/>
                <a:gd name="T7" fmla="*/ 19 h 19"/>
                <a:gd name="T8" fmla="*/ 18 w 26"/>
                <a:gd name="T9" fmla="*/ 9 h 19"/>
                <a:gd name="T10" fmla="*/ 26 w 26"/>
                <a:gd name="T11" fmla="*/ 9 h 19"/>
                <a:gd name="T12" fmla="*/ 26 w 26"/>
                <a:gd name="T13" fmla="*/ 0 h 19"/>
                <a:gd name="T14" fmla="*/ 0 w 26"/>
                <a:gd name="T15" fmla="*/ 0 h 19"/>
                <a:gd name="T16" fmla="*/ 0 w 26"/>
                <a:gd name="T1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19">
                  <a:moveTo>
                    <a:pt x="0" y="9"/>
                  </a:moveTo>
                  <a:lnTo>
                    <a:pt x="8" y="9"/>
                  </a:lnTo>
                  <a:lnTo>
                    <a:pt x="8" y="19"/>
                  </a:lnTo>
                  <a:lnTo>
                    <a:pt x="18" y="19"/>
                  </a:lnTo>
                  <a:lnTo>
                    <a:pt x="18" y="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F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7" name="Freeform 18"/>
            <p:cNvSpPr>
              <a:spLocks/>
            </p:cNvSpPr>
            <p:nvPr/>
          </p:nvSpPr>
          <p:spPr bwMode="auto">
            <a:xfrm>
              <a:off x="6443663" y="2560638"/>
              <a:ext cx="38100" cy="30163"/>
            </a:xfrm>
            <a:custGeom>
              <a:avLst/>
              <a:gdLst>
                <a:gd name="T0" fmla="*/ 0 w 24"/>
                <a:gd name="T1" fmla="*/ 9 h 19"/>
                <a:gd name="T2" fmla="*/ 6 w 24"/>
                <a:gd name="T3" fmla="*/ 9 h 19"/>
                <a:gd name="T4" fmla="*/ 6 w 24"/>
                <a:gd name="T5" fmla="*/ 19 h 19"/>
                <a:gd name="T6" fmla="*/ 16 w 24"/>
                <a:gd name="T7" fmla="*/ 19 h 19"/>
                <a:gd name="T8" fmla="*/ 16 w 24"/>
                <a:gd name="T9" fmla="*/ 9 h 19"/>
                <a:gd name="T10" fmla="*/ 24 w 24"/>
                <a:gd name="T11" fmla="*/ 9 h 19"/>
                <a:gd name="T12" fmla="*/ 24 w 24"/>
                <a:gd name="T13" fmla="*/ 0 h 19"/>
                <a:gd name="T14" fmla="*/ 0 w 24"/>
                <a:gd name="T15" fmla="*/ 0 h 19"/>
                <a:gd name="T16" fmla="*/ 0 w 24"/>
                <a:gd name="T1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19">
                  <a:moveTo>
                    <a:pt x="0" y="9"/>
                  </a:moveTo>
                  <a:lnTo>
                    <a:pt x="6" y="9"/>
                  </a:lnTo>
                  <a:lnTo>
                    <a:pt x="6" y="19"/>
                  </a:lnTo>
                  <a:lnTo>
                    <a:pt x="16" y="19"/>
                  </a:lnTo>
                  <a:lnTo>
                    <a:pt x="16" y="9"/>
                  </a:lnTo>
                  <a:lnTo>
                    <a:pt x="24" y="9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F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8" name="Freeform 19"/>
            <p:cNvSpPr>
              <a:spLocks/>
            </p:cNvSpPr>
            <p:nvPr/>
          </p:nvSpPr>
          <p:spPr bwMode="auto">
            <a:xfrm>
              <a:off x="6189663" y="2560638"/>
              <a:ext cx="39688" cy="30163"/>
            </a:xfrm>
            <a:custGeom>
              <a:avLst/>
              <a:gdLst>
                <a:gd name="T0" fmla="*/ 0 w 25"/>
                <a:gd name="T1" fmla="*/ 9 h 19"/>
                <a:gd name="T2" fmla="*/ 9 w 25"/>
                <a:gd name="T3" fmla="*/ 9 h 19"/>
                <a:gd name="T4" fmla="*/ 9 w 25"/>
                <a:gd name="T5" fmla="*/ 19 h 19"/>
                <a:gd name="T6" fmla="*/ 18 w 25"/>
                <a:gd name="T7" fmla="*/ 19 h 19"/>
                <a:gd name="T8" fmla="*/ 18 w 25"/>
                <a:gd name="T9" fmla="*/ 9 h 19"/>
                <a:gd name="T10" fmla="*/ 25 w 25"/>
                <a:gd name="T11" fmla="*/ 9 h 19"/>
                <a:gd name="T12" fmla="*/ 25 w 25"/>
                <a:gd name="T13" fmla="*/ 0 h 19"/>
                <a:gd name="T14" fmla="*/ 0 w 25"/>
                <a:gd name="T15" fmla="*/ 0 h 19"/>
                <a:gd name="T16" fmla="*/ 0 w 25"/>
                <a:gd name="T17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19">
                  <a:moveTo>
                    <a:pt x="0" y="9"/>
                  </a:moveTo>
                  <a:lnTo>
                    <a:pt x="9" y="9"/>
                  </a:lnTo>
                  <a:lnTo>
                    <a:pt x="9" y="19"/>
                  </a:lnTo>
                  <a:lnTo>
                    <a:pt x="18" y="19"/>
                  </a:lnTo>
                  <a:lnTo>
                    <a:pt x="18" y="9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5F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99" name="Freeform 20"/>
            <p:cNvSpPr>
              <a:spLocks noEditPoints="1"/>
            </p:cNvSpPr>
            <p:nvPr/>
          </p:nvSpPr>
          <p:spPr bwMode="auto">
            <a:xfrm>
              <a:off x="4989513" y="1765300"/>
              <a:ext cx="936625" cy="944563"/>
            </a:xfrm>
            <a:custGeom>
              <a:avLst/>
              <a:gdLst>
                <a:gd name="T0" fmla="*/ 590 w 590"/>
                <a:gd name="T1" fmla="*/ 595 h 595"/>
                <a:gd name="T2" fmla="*/ 0 w 590"/>
                <a:gd name="T3" fmla="*/ 593 h 595"/>
                <a:gd name="T4" fmla="*/ 0 w 590"/>
                <a:gd name="T5" fmla="*/ 282 h 595"/>
                <a:gd name="T6" fmla="*/ 159 w 590"/>
                <a:gd name="T7" fmla="*/ 0 h 595"/>
                <a:gd name="T8" fmla="*/ 590 w 590"/>
                <a:gd name="T9" fmla="*/ 0 h 595"/>
                <a:gd name="T10" fmla="*/ 590 w 590"/>
                <a:gd name="T11" fmla="*/ 595 h 595"/>
                <a:gd name="T12" fmla="*/ 19 w 590"/>
                <a:gd name="T13" fmla="*/ 574 h 595"/>
                <a:gd name="T14" fmla="*/ 571 w 590"/>
                <a:gd name="T15" fmla="*/ 574 h 595"/>
                <a:gd name="T16" fmla="*/ 571 w 590"/>
                <a:gd name="T17" fmla="*/ 19 h 595"/>
                <a:gd name="T18" fmla="*/ 170 w 590"/>
                <a:gd name="T19" fmla="*/ 19 h 595"/>
                <a:gd name="T20" fmla="*/ 19 w 590"/>
                <a:gd name="T21" fmla="*/ 288 h 595"/>
                <a:gd name="T22" fmla="*/ 19 w 590"/>
                <a:gd name="T23" fmla="*/ 574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0" h="595">
                  <a:moveTo>
                    <a:pt x="590" y="595"/>
                  </a:moveTo>
                  <a:lnTo>
                    <a:pt x="0" y="593"/>
                  </a:lnTo>
                  <a:lnTo>
                    <a:pt x="0" y="282"/>
                  </a:lnTo>
                  <a:lnTo>
                    <a:pt x="159" y="0"/>
                  </a:lnTo>
                  <a:lnTo>
                    <a:pt x="590" y="0"/>
                  </a:lnTo>
                  <a:lnTo>
                    <a:pt x="590" y="595"/>
                  </a:lnTo>
                  <a:close/>
                  <a:moveTo>
                    <a:pt x="19" y="574"/>
                  </a:moveTo>
                  <a:lnTo>
                    <a:pt x="571" y="574"/>
                  </a:lnTo>
                  <a:lnTo>
                    <a:pt x="571" y="19"/>
                  </a:lnTo>
                  <a:lnTo>
                    <a:pt x="170" y="19"/>
                  </a:lnTo>
                  <a:lnTo>
                    <a:pt x="19" y="288"/>
                  </a:lnTo>
                  <a:lnTo>
                    <a:pt x="19" y="574"/>
                  </a:lnTo>
                  <a:close/>
                </a:path>
              </a:pathLst>
            </a:custGeom>
            <a:solidFill>
              <a:srgbClr val="4255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0" name="Rectangle 21"/>
            <p:cNvSpPr>
              <a:spLocks noChangeArrowheads="1"/>
            </p:cNvSpPr>
            <p:nvPr/>
          </p:nvSpPr>
          <p:spPr bwMode="auto">
            <a:xfrm>
              <a:off x="5605463" y="2733675"/>
              <a:ext cx="257175" cy="206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1" name="Rectangle 22"/>
            <p:cNvSpPr>
              <a:spLocks noChangeArrowheads="1"/>
            </p:cNvSpPr>
            <p:nvPr/>
          </p:nvSpPr>
          <p:spPr bwMode="auto">
            <a:xfrm>
              <a:off x="5024438" y="2733675"/>
              <a:ext cx="298450" cy="20638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2" name="Freeform 23"/>
            <p:cNvSpPr>
              <a:spLocks noEditPoints="1"/>
            </p:cNvSpPr>
            <p:nvPr/>
          </p:nvSpPr>
          <p:spPr bwMode="auto">
            <a:xfrm>
              <a:off x="5164138" y="1854200"/>
              <a:ext cx="654050" cy="560388"/>
            </a:xfrm>
            <a:custGeom>
              <a:avLst/>
              <a:gdLst>
                <a:gd name="T0" fmla="*/ 303 w 303"/>
                <a:gd name="T1" fmla="*/ 259 h 259"/>
                <a:gd name="T2" fmla="*/ 0 w 303"/>
                <a:gd name="T3" fmla="*/ 259 h 259"/>
                <a:gd name="T4" fmla="*/ 0 w 303"/>
                <a:gd name="T5" fmla="*/ 167 h 259"/>
                <a:gd name="T6" fmla="*/ 64 w 303"/>
                <a:gd name="T7" fmla="*/ 51 h 259"/>
                <a:gd name="T8" fmla="*/ 148 w 303"/>
                <a:gd name="T9" fmla="*/ 0 h 259"/>
                <a:gd name="T10" fmla="*/ 303 w 303"/>
                <a:gd name="T11" fmla="*/ 0 h 259"/>
                <a:gd name="T12" fmla="*/ 303 w 303"/>
                <a:gd name="T13" fmla="*/ 259 h 259"/>
                <a:gd name="T14" fmla="*/ 10 w 303"/>
                <a:gd name="T15" fmla="*/ 249 h 259"/>
                <a:gd name="T16" fmla="*/ 293 w 303"/>
                <a:gd name="T17" fmla="*/ 249 h 259"/>
                <a:gd name="T18" fmla="*/ 293 w 303"/>
                <a:gd name="T19" fmla="*/ 10 h 259"/>
                <a:gd name="T20" fmla="*/ 148 w 303"/>
                <a:gd name="T21" fmla="*/ 10 h 259"/>
                <a:gd name="T22" fmla="*/ 73 w 303"/>
                <a:gd name="T23" fmla="*/ 56 h 259"/>
                <a:gd name="T24" fmla="*/ 10 w 303"/>
                <a:gd name="T25" fmla="*/ 170 h 259"/>
                <a:gd name="T26" fmla="*/ 10 w 303"/>
                <a:gd name="T27" fmla="*/ 249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3" h="259">
                  <a:moveTo>
                    <a:pt x="303" y="259"/>
                  </a:moveTo>
                  <a:cubicBezTo>
                    <a:pt x="0" y="259"/>
                    <a:pt x="0" y="259"/>
                    <a:pt x="0" y="259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64" y="51"/>
                    <a:pt x="64" y="51"/>
                    <a:pt x="64" y="51"/>
                  </a:cubicBezTo>
                  <a:cubicBezTo>
                    <a:pt x="80" y="19"/>
                    <a:pt x="113" y="0"/>
                    <a:pt x="148" y="0"/>
                  </a:cubicBezTo>
                  <a:cubicBezTo>
                    <a:pt x="303" y="0"/>
                    <a:pt x="303" y="0"/>
                    <a:pt x="303" y="0"/>
                  </a:cubicBezTo>
                  <a:lnTo>
                    <a:pt x="303" y="259"/>
                  </a:lnTo>
                  <a:close/>
                  <a:moveTo>
                    <a:pt x="10" y="249"/>
                  </a:moveTo>
                  <a:cubicBezTo>
                    <a:pt x="293" y="249"/>
                    <a:pt x="293" y="249"/>
                    <a:pt x="293" y="249"/>
                  </a:cubicBezTo>
                  <a:cubicBezTo>
                    <a:pt x="293" y="10"/>
                    <a:pt x="293" y="10"/>
                    <a:pt x="293" y="10"/>
                  </a:cubicBezTo>
                  <a:cubicBezTo>
                    <a:pt x="148" y="10"/>
                    <a:pt x="148" y="10"/>
                    <a:pt x="148" y="10"/>
                  </a:cubicBezTo>
                  <a:cubicBezTo>
                    <a:pt x="116" y="10"/>
                    <a:pt x="88" y="28"/>
                    <a:pt x="73" y="56"/>
                  </a:cubicBezTo>
                  <a:cubicBezTo>
                    <a:pt x="10" y="170"/>
                    <a:pt x="10" y="170"/>
                    <a:pt x="10" y="170"/>
                  </a:cubicBezTo>
                  <a:lnTo>
                    <a:pt x="10" y="249"/>
                  </a:lnTo>
                  <a:close/>
                </a:path>
              </a:pathLst>
            </a:custGeom>
            <a:solidFill>
              <a:srgbClr val="4255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3" name="Freeform 24"/>
            <p:cNvSpPr>
              <a:spLocks/>
            </p:cNvSpPr>
            <p:nvPr/>
          </p:nvSpPr>
          <p:spPr bwMode="auto">
            <a:xfrm>
              <a:off x="5389563" y="2146300"/>
              <a:ext cx="365125" cy="214313"/>
            </a:xfrm>
            <a:custGeom>
              <a:avLst/>
              <a:gdLst>
                <a:gd name="T0" fmla="*/ 169 w 169"/>
                <a:gd name="T1" fmla="*/ 99 h 99"/>
                <a:gd name="T2" fmla="*/ 161 w 169"/>
                <a:gd name="T3" fmla="*/ 99 h 99"/>
                <a:gd name="T4" fmla="*/ 161 w 169"/>
                <a:gd name="T5" fmla="*/ 43 h 99"/>
                <a:gd name="T6" fmla="*/ 151 w 169"/>
                <a:gd name="T7" fmla="*/ 11 h 99"/>
                <a:gd name="T8" fmla="*/ 79 w 169"/>
                <a:gd name="T9" fmla="*/ 50 h 99"/>
                <a:gd name="T10" fmla="*/ 0 w 169"/>
                <a:gd name="T11" fmla="*/ 29 h 99"/>
                <a:gd name="T12" fmla="*/ 2 w 169"/>
                <a:gd name="T13" fmla="*/ 21 h 99"/>
                <a:gd name="T14" fmla="*/ 78 w 169"/>
                <a:gd name="T15" fmla="*/ 41 h 99"/>
                <a:gd name="T16" fmla="*/ 154 w 169"/>
                <a:gd name="T17" fmla="*/ 0 h 99"/>
                <a:gd name="T18" fmla="*/ 156 w 169"/>
                <a:gd name="T19" fmla="*/ 3 h 99"/>
                <a:gd name="T20" fmla="*/ 169 w 169"/>
                <a:gd name="T21" fmla="*/ 43 h 99"/>
                <a:gd name="T22" fmla="*/ 169 w 169"/>
                <a:gd name="T2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9" h="99">
                  <a:moveTo>
                    <a:pt x="169" y="99"/>
                  </a:moveTo>
                  <a:cubicBezTo>
                    <a:pt x="161" y="99"/>
                    <a:pt x="161" y="99"/>
                    <a:pt x="161" y="99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28"/>
                    <a:pt x="155" y="16"/>
                    <a:pt x="151" y="11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7" y="3"/>
                    <a:pt x="169" y="20"/>
                    <a:pt x="169" y="43"/>
                  </a:cubicBezTo>
                  <a:lnTo>
                    <a:pt x="169" y="99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4" name="Freeform 25"/>
            <p:cNvSpPr>
              <a:spLocks/>
            </p:cNvSpPr>
            <p:nvPr/>
          </p:nvSpPr>
          <p:spPr bwMode="auto">
            <a:xfrm>
              <a:off x="5602288" y="1979613"/>
              <a:ext cx="123825" cy="66675"/>
            </a:xfrm>
            <a:custGeom>
              <a:avLst/>
              <a:gdLst>
                <a:gd name="T0" fmla="*/ 57 w 57"/>
                <a:gd name="T1" fmla="*/ 31 h 31"/>
                <a:gd name="T2" fmla="*/ 0 w 57"/>
                <a:gd name="T3" fmla="*/ 31 h 31"/>
                <a:gd name="T4" fmla="*/ 0 w 57"/>
                <a:gd name="T5" fmla="*/ 25 h 31"/>
                <a:gd name="T6" fmla="*/ 51 w 57"/>
                <a:gd name="T7" fmla="*/ 25 h 31"/>
                <a:gd name="T8" fmla="*/ 34 w 57"/>
                <a:gd name="T9" fmla="*/ 9 h 31"/>
                <a:gd name="T10" fmla="*/ 18 w 57"/>
                <a:gd name="T11" fmla="*/ 11 h 31"/>
                <a:gd name="T12" fmla="*/ 17 w 57"/>
                <a:gd name="T13" fmla="*/ 17 h 31"/>
                <a:gd name="T14" fmla="*/ 11 w 57"/>
                <a:gd name="T15" fmla="*/ 17 h 31"/>
                <a:gd name="T16" fmla="*/ 13 w 57"/>
                <a:gd name="T17" fmla="*/ 8 h 31"/>
                <a:gd name="T18" fmla="*/ 35 w 57"/>
                <a:gd name="T19" fmla="*/ 4 h 31"/>
                <a:gd name="T20" fmla="*/ 57 w 57"/>
                <a:gd name="T21" fmla="*/ 28 h 31"/>
                <a:gd name="T22" fmla="*/ 57 w 57"/>
                <a:gd name="T2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31">
                  <a:moveTo>
                    <a:pt x="57" y="31"/>
                  </a:moveTo>
                  <a:cubicBezTo>
                    <a:pt x="0" y="31"/>
                    <a:pt x="0" y="31"/>
                    <a:pt x="0" y="31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49" y="17"/>
                    <a:pt x="41" y="11"/>
                    <a:pt x="34" y="9"/>
                  </a:cubicBezTo>
                  <a:cubicBezTo>
                    <a:pt x="21" y="7"/>
                    <a:pt x="19" y="9"/>
                    <a:pt x="18" y="11"/>
                  </a:cubicBezTo>
                  <a:cubicBezTo>
                    <a:pt x="18" y="12"/>
                    <a:pt x="17" y="14"/>
                    <a:pt x="17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2"/>
                    <a:pt x="12" y="10"/>
                    <a:pt x="13" y="8"/>
                  </a:cubicBezTo>
                  <a:cubicBezTo>
                    <a:pt x="16" y="0"/>
                    <a:pt x="30" y="3"/>
                    <a:pt x="35" y="4"/>
                  </a:cubicBezTo>
                  <a:cubicBezTo>
                    <a:pt x="46" y="6"/>
                    <a:pt x="57" y="15"/>
                    <a:pt x="57" y="28"/>
                  </a:cubicBezTo>
                  <a:lnTo>
                    <a:pt x="57" y="31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5" name="Freeform 26"/>
            <p:cNvSpPr>
              <a:spLocks/>
            </p:cNvSpPr>
            <p:nvPr/>
          </p:nvSpPr>
          <p:spPr bwMode="auto">
            <a:xfrm>
              <a:off x="5629276" y="2062163"/>
              <a:ext cx="88900" cy="60325"/>
            </a:xfrm>
            <a:custGeom>
              <a:avLst/>
              <a:gdLst>
                <a:gd name="T0" fmla="*/ 41 w 41"/>
                <a:gd name="T1" fmla="*/ 0 h 28"/>
                <a:gd name="T2" fmla="*/ 35 w 41"/>
                <a:gd name="T3" fmla="*/ 0 h 28"/>
                <a:gd name="T4" fmla="*/ 35 w 41"/>
                <a:gd name="T5" fmla="*/ 8 h 28"/>
                <a:gd name="T6" fmla="*/ 20 w 41"/>
                <a:gd name="T7" fmla="*/ 22 h 28"/>
                <a:gd name="T8" fmla="*/ 20 w 41"/>
                <a:gd name="T9" fmla="*/ 22 h 28"/>
                <a:gd name="T10" fmla="*/ 6 w 41"/>
                <a:gd name="T11" fmla="*/ 8 h 28"/>
                <a:gd name="T12" fmla="*/ 5 w 41"/>
                <a:gd name="T13" fmla="*/ 0 h 28"/>
                <a:gd name="T14" fmla="*/ 0 w 41"/>
                <a:gd name="T15" fmla="*/ 0 h 28"/>
                <a:gd name="T16" fmla="*/ 0 w 41"/>
                <a:gd name="T17" fmla="*/ 9 h 28"/>
                <a:gd name="T18" fmla="*/ 20 w 41"/>
                <a:gd name="T19" fmla="*/ 28 h 28"/>
                <a:gd name="T20" fmla="*/ 20 w 41"/>
                <a:gd name="T21" fmla="*/ 28 h 28"/>
                <a:gd name="T22" fmla="*/ 40 w 41"/>
                <a:gd name="T23" fmla="*/ 8 h 28"/>
                <a:gd name="T24" fmla="*/ 41 w 41"/>
                <a:gd name="T25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1" h="28">
                  <a:moveTo>
                    <a:pt x="41" y="0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4" y="17"/>
                    <a:pt x="28" y="22"/>
                    <a:pt x="20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12" y="22"/>
                    <a:pt x="7" y="15"/>
                    <a:pt x="6" y="8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20"/>
                    <a:pt x="10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31" y="28"/>
                    <a:pt x="39" y="20"/>
                    <a:pt x="40" y="8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6" name="Freeform 27"/>
            <p:cNvSpPr>
              <a:spLocks/>
            </p:cNvSpPr>
            <p:nvPr/>
          </p:nvSpPr>
          <p:spPr bwMode="auto">
            <a:xfrm>
              <a:off x="5643563" y="2268538"/>
              <a:ext cx="20638" cy="92075"/>
            </a:xfrm>
            <a:custGeom>
              <a:avLst/>
              <a:gdLst>
                <a:gd name="T0" fmla="*/ 0 w 13"/>
                <a:gd name="T1" fmla="*/ 6 h 58"/>
                <a:gd name="T2" fmla="*/ 0 w 13"/>
                <a:gd name="T3" fmla="*/ 58 h 58"/>
                <a:gd name="T4" fmla="*/ 13 w 13"/>
                <a:gd name="T5" fmla="*/ 58 h 58"/>
                <a:gd name="T6" fmla="*/ 13 w 13"/>
                <a:gd name="T7" fmla="*/ 0 h 58"/>
                <a:gd name="T8" fmla="*/ 0 w 13"/>
                <a:gd name="T9" fmla="*/ 6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58">
                  <a:moveTo>
                    <a:pt x="0" y="6"/>
                  </a:moveTo>
                  <a:lnTo>
                    <a:pt x="0" y="58"/>
                  </a:lnTo>
                  <a:lnTo>
                    <a:pt x="13" y="58"/>
                  </a:lnTo>
                  <a:lnTo>
                    <a:pt x="13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1A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7" name="Freeform 28"/>
            <p:cNvSpPr>
              <a:spLocks/>
            </p:cNvSpPr>
            <p:nvPr/>
          </p:nvSpPr>
          <p:spPr bwMode="auto">
            <a:xfrm>
              <a:off x="5292726" y="2117725"/>
              <a:ext cx="85725" cy="239713"/>
            </a:xfrm>
            <a:custGeom>
              <a:avLst/>
              <a:gdLst>
                <a:gd name="T0" fmla="*/ 8 w 40"/>
                <a:gd name="T1" fmla="*/ 110 h 110"/>
                <a:gd name="T2" fmla="*/ 0 w 40"/>
                <a:gd name="T3" fmla="*/ 110 h 110"/>
                <a:gd name="T4" fmla="*/ 0 w 40"/>
                <a:gd name="T5" fmla="*/ 63 h 110"/>
                <a:gd name="T6" fmla="*/ 6 w 40"/>
                <a:gd name="T7" fmla="*/ 47 h 110"/>
                <a:gd name="T8" fmla="*/ 21 w 40"/>
                <a:gd name="T9" fmla="*/ 33 h 110"/>
                <a:gd name="T10" fmla="*/ 11 w 40"/>
                <a:gd name="T11" fmla="*/ 2 h 110"/>
                <a:gd name="T12" fmla="*/ 19 w 40"/>
                <a:gd name="T13" fmla="*/ 0 h 110"/>
                <a:gd name="T14" fmla="*/ 40 w 40"/>
                <a:gd name="T15" fmla="*/ 66 h 110"/>
                <a:gd name="T16" fmla="*/ 32 w 40"/>
                <a:gd name="T17" fmla="*/ 69 h 110"/>
                <a:gd name="T18" fmla="*/ 24 w 40"/>
                <a:gd name="T19" fmla="*/ 42 h 110"/>
                <a:gd name="T20" fmla="*/ 12 w 40"/>
                <a:gd name="T21" fmla="*/ 53 h 110"/>
                <a:gd name="T22" fmla="*/ 8 w 40"/>
                <a:gd name="T23" fmla="*/ 63 h 110"/>
                <a:gd name="T24" fmla="*/ 8 w 40"/>
                <a:gd name="T25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0" h="110">
                  <a:moveTo>
                    <a:pt x="8" y="110"/>
                  </a:moveTo>
                  <a:cubicBezTo>
                    <a:pt x="0" y="110"/>
                    <a:pt x="0" y="110"/>
                    <a:pt x="0" y="110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57"/>
                    <a:pt x="2" y="52"/>
                    <a:pt x="6" y="47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40" y="66"/>
                    <a:pt x="40" y="66"/>
                    <a:pt x="40" y="66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0" y="56"/>
                    <a:pt x="8" y="59"/>
                    <a:pt x="8" y="63"/>
                  </a:cubicBezTo>
                  <a:lnTo>
                    <a:pt x="8" y="1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pic>
        <p:nvPicPr>
          <p:cNvPr id="108" name="Picture 107" descr="telephone_wires_01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081" y="1885950"/>
            <a:ext cx="3346224" cy="791940"/>
          </a:xfrm>
          <a:prstGeom prst="rect">
            <a:avLst/>
          </a:prstGeom>
        </p:spPr>
      </p:pic>
      <p:pic>
        <p:nvPicPr>
          <p:cNvPr id="109" name="Picture 10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8058" y="3330695"/>
            <a:ext cx="998456" cy="535945"/>
          </a:xfrm>
          <a:prstGeom prst="rect">
            <a:avLst/>
          </a:prstGeom>
        </p:spPr>
      </p:pic>
      <p:cxnSp>
        <p:nvCxnSpPr>
          <p:cNvPr id="111" name="Elbow Connector 110"/>
          <p:cNvCxnSpPr/>
          <p:nvPr/>
        </p:nvCxnSpPr>
        <p:spPr>
          <a:xfrm flipV="1">
            <a:off x="1806082" y="3389682"/>
            <a:ext cx="450878" cy="373534"/>
          </a:xfrm>
          <a:prstGeom prst="bentConnector3">
            <a:avLst>
              <a:gd name="adj1" fmla="val 100701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1840612" y="3511991"/>
            <a:ext cx="835504" cy="1714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команды</a:t>
            </a:r>
            <a:endParaRPr lang="en-US" sz="1350" b="1" dirty="0"/>
          </a:p>
        </p:txBody>
      </p:sp>
      <p:cxnSp>
        <p:nvCxnSpPr>
          <p:cNvPr id="116" name="Elbow Connector 115"/>
          <p:cNvCxnSpPr>
            <a:stCxn id="9" idx="1"/>
          </p:cNvCxnSpPr>
          <p:nvPr/>
        </p:nvCxnSpPr>
        <p:spPr>
          <a:xfrm rot="10800000" flipH="1" flipV="1">
            <a:off x="1402273" y="3207273"/>
            <a:ext cx="70434" cy="665721"/>
          </a:xfrm>
          <a:prstGeom prst="bentConnector4">
            <a:avLst>
              <a:gd name="adj1" fmla="val -243419"/>
              <a:gd name="adj2" fmla="val 100384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TextBox 120"/>
          <p:cNvSpPr txBox="1"/>
          <p:nvPr/>
        </p:nvSpPr>
        <p:spPr>
          <a:xfrm>
            <a:off x="279143" y="3306606"/>
            <a:ext cx="1187087" cy="34571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дополненная реальность</a:t>
            </a:r>
            <a:endParaRPr lang="en-US" sz="1350" b="1" dirty="0"/>
          </a:p>
        </p:txBody>
      </p:sp>
      <p:cxnSp>
        <p:nvCxnSpPr>
          <p:cNvPr id="123" name="Elbow Connector 122"/>
          <p:cNvCxnSpPr/>
          <p:nvPr/>
        </p:nvCxnSpPr>
        <p:spPr>
          <a:xfrm>
            <a:off x="2507074" y="3144888"/>
            <a:ext cx="2365136" cy="328792"/>
          </a:xfrm>
          <a:prstGeom prst="bentConnector3">
            <a:avLst>
              <a:gd name="adj1" fmla="val 99708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/>
          <p:cNvSpPr txBox="1"/>
          <p:nvPr/>
        </p:nvSpPr>
        <p:spPr>
          <a:xfrm>
            <a:off x="3020786" y="3074394"/>
            <a:ext cx="703954" cy="16185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данные</a:t>
            </a:r>
            <a:endParaRPr lang="en-US" sz="1350" b="1" dirty="0"/>
          </a:p>
        </p:txBody>
      </p:sp>
      <p:cxnSp>
        <p:nvCxnSpPr>
          <p:cNvPr id="129" name="Elbow Connector 128"/>
          <p:cNvCxnSpPr/>
          <p:nvPr/>
        </p:nvCxnSpPr>
        <p:spPr>
          <a:xfrm rot="10800000">
            <a:off x="1843348" y="3046694"/>
            <a:ext cx="3163418" cy="421964"/>
          </a:xfrm>
          <a:prstGeom prst="bentConnector4">
            <a:avLst>
              <a:gd name="adj1" fmla="val -200"/>
              <a:gd name="adj2" fmla="val 140631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/>
          <p:cNvSpPr txBox="1"/>
          <p:nvPr/>
        </p:nvSpPr>
        <p:spPr>
          <a:xfrm>
            <a:off x="3608121" y="2811089"/>
            <a:ext cx="1092393" cy="17812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результаты</a:t>
            </a:r>
            <a:endParaRPr lang="en-US" sz="1350" b="1" dirty="0"/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2088" y="1885952"/>
            <a:ext cx="669439" cy="958624"/>
          </a:xfrm>
          <a:prstGeom prst="rect">
            <a:avLst/>
          </a:prstGeom>
        </p:spPr>
      </p:pic>
      <p:cxnSp>
        <p:nvCxnSpPr>
          <p:cNvPr id="150" name="Elbow Connector 149"/>
          <p:cNvCxnSpPr/>
          <p:nvPr/>
        </p:nvCxnSpPr>
        <p:spPr>
          <a:xfrm flipV="1">
            <a:off x="5758962" y="2897589"/>
            <a:ext cx="2375388" cy="622564"/>
          </a:xfrm>
          <a:prstGeom prst="bentConnector3">
            <a:avLst>
              <a:gd name="adj1" fmla="val 100123"/>
            </a:avLst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/>
          <p:cNvSpPr txBox="1"/>
          <p:nvPr/>
        </p:nvSpPr>
        <p:spPr>
          <a:xfrm>
            <a:off x="6654891" y="3424858"/>
            <a:ext cx="703954" cy="16185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отчеты</a:t>
            </a:r>
            <a:endParaRPr lang="en-US" sz="1350" b="1" dirty="0"/>
          </a:p>
        </p:txBody>
      </p:sp>
      <p:sp>
        <p:nvSpPr>
          <p:cNvPr id="154" name="Rectangle 153"/>
          <p:cNvSpPr/>
          <p:nvPr/>
        </p:nvSpPr>
        <p:spPr>
          <a:xfrm>
            <a:off x="3886928" y="4395993"/>
            <a:ext cx="4572000" cy="146706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350" dirty="0">
                <a:solidFill>
                  <a:prstClr val="black"/>
                </a:solidFill>
              </a:rPr>
              <a:t>Аналитика в режиме реального времени</a:t>
            </a: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350" dirty="0">
                <a:solidFill>
                  <a:prstClr val="black"/>
                </a:solidFill>
              </a:rPr>
              <a:t>Рендеринг</a:t>
            </a: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350" dirty="0">
                <a:solidFill>
                  <a:prstClr val="black"/>
                </a:solidFill>
              </a:rPr>
              <a:t>Оптимизация трафика</a:t>
            </a: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350" dirty="0">
                <a:solidFill>
                  <a:prstClr val="black"/>
                </a:solidFill>
              </a:rPr>
              <a:t>Архивирование данных</a:t>
            </a: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350" dirty="0">
                <a:solidFill>
                  <a:prstClr val="black"/>
                </a:solidFill>
              </a:rPr>
              <a:t>Хранение маршрутных заданий</a:t>
            </a:r>
          </a:p>
          <a:p>
            <a:pPr marL="214313" indent="-214313">
              <a:spcBef>
                <a:spcPts val="225"/>
              </a:spcBef>
              <a:buClr>
                <a:srgbClr val="01A982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350" dirty="0">
                <a:solidFill>
                  <a:prstClr val="black"/>
                </a:solidFill>
              </a:rPr>
              <a:t>…</a:t>
            </a:r>
          </a:p>
        </p:txBody>
      </p:sp>
      <p:cxnSp>
        <p:nvCxnSpPr>
          <p:cNvPr id="159" name="Elbow Connector 158"/>
          <p:cNvCxnSpPr/>
          <p:nvPr/>
        </p:nvCxnSpPr>
        <p:spPr>
          <a:xfrm rot="16200000" flipH="1">
            <a:off x="3786817" y="2102492"/>
            <a:ext cx="1436407" cy="1293566"/>
          </a:xfrm>
          <a:prstGeom prst="bentConnector3">
            <a:avLst>
              <a:gd name="adj1" fmla="val -18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/>
          <p:cNvSpPr txBox="1"/>
          <p:nvPr/>
        </p:nvSpPr>
        <p:spPr>
          <a:xfrm>
            <a:off x="4802236" y="2425809"/>
            <a:ext cx="703954" cy="16185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данные</a:t>
            </a:r>
            <a:endParaRPr lang="en-US" sz="1350" b="1" dirty="0"/>
          </a:p>
        </p:txBody>
      </p:sp>
      <p:pic>
        <p:nvPicPr>
          <p:cNvPr id="163" name="Picture 16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367" y="1676393"/>
            <a:ext cx="828785" cy="621588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150234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47213" y="3611559"/>
            <a:ext cx="1299434" cy="66807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017" y="2455095"/>
            <a:ext cx="1228472" cy="92135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нение искусственного интеллекта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 lang="en-US" smtClean="0">
                <a:solidFill>
                  <a:srgbClr val="617D78"/>
                </a:solidFill>
              </a:rPr>
              <a:pPr/>
              <a:t>9</a:t>
            </a:fld>
            <a:endParaRPr lang="en-US">
              <a:solidFill>
                <a:srgbClr val="617D78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981" y="3470133"/>
            <a:ext cx="1283333" cy="962499"/>
          </a:xfrm>
          <a:prstGeom prst="rect">
            <a:avLst/>
          </a:prstGeom>
          <a:ln w="28575">
            <a:noFill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7341" y="3654602"/>
            <a:ext cx="2180057" cy="594531"/>
          </a:xfrm>
          <a:prstGeom prst="rect">
            <a:avLst/>
          </a:prstGeom>
          <a:ln w="28575">
            <a:noFill/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6736" y="4441199"/>
            <a:ext cx="1612908" cy="8086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6011" y="5205773"/>
            <a:ext cx="1040924" cy="589317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1353839" y="4533903"/>
            <a:ext cx="307712" cy="988265"/>
            <a:chOff x="5742697" y="3134455"/>
            <a:chExt cx="712788" cy="2509838"/>
          </a:xfrm>
        </p:grpSpPr>
        <p:sp>
          <p:nvSpPr>
            <p:cNvPr id="9" name="Rectangle 46"/>
            <p:cNvSpPr>
              <a:spLocks noChangeArrowheads="1"/>
            </p:cNvSpPr>
            <p:nvPr/>
          </p:nvSpPr>
          <p:spPr bwMode="auto">
            <a:xfrm>
              <a:off x="6214185" y="5614130"/>
              <a:ext cx="134938" cy="30163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0" name="Freeform 47"/>
            <p:cNvSpPr>
              <a:spLocks/>
            </p:cNvSpPr>
            <p:nvPr/>
          </p:nvSpPr>
          <p:spPr bwMode="auto">
            <a:xfrm>
              <a:off x="6118935" y="4337780"/>
              <a:ext cx="241300" cy="1249363"/>
            </a:xfrm>
            <a:custGeom>
              <a:avLst/>
              <a:gdLst>
                <a:gd name="T0" fmla="*/ 145 w 152"/>
                <a:gd name="T1" fmla="*/ 787 h 787"/>
                <a:gd name="T2" fmla="*/ 63 w 152"/>
                <a:gd name="T3" fmla="*/ 787 h 787"/>
                <a:gd name="T4" fmla="*/ 0 w 152"/>
                <a:gd name="T5" fmla="*/ 3 h 787"/>
                <a:gd name="T6" fmla="*/ 27 w 152"/>
                <a:gd name="T7" fmla="*/ 0 h 787"/>
                <a:gd name="T8" fmla="*/ 88 w 152"/>
                <a:gd name="T9" fmla="*/ 760 h 787"/>
                <a:gd name="T10" fmla="*/ 118 w 152"/>
                <a:gd name="T11" fmla="*/ 760 h 787"/>
                <a:gd name="T12" fmla="*/ 125 w 152"/>
                <a:gd name="T13" fmla="*/ 264 h 787"/>
                <a:gd name="T14" fmla="*/ 152 w 152"/>
                <a:gd name="T15" fmla="*/ 265 h 787"/>
                <a:gd name="T16" fmla="*/ 145 w 152"/>
                <a:gd name="T17" fmla="*/ 787 h 7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787">
                  <a:moveTo>
                    <a:pt x="145" y="787"/>
                  </a:moveTo>
                  <a:lnTo>
                    <a:pt x="63" y="787"/>
                  </a:lnTo>
                  <a:lnTo>
                    <a:pt x="0" y="3"/>
                  </a:lnTo>
                  <a:lnTo>
                    <a:pt x="27" y="0"/>
                  </a:lnTo>
                  <a:lnTo>
                    <a:pt x="88" y="760"/>
                  </a:lnTo>
                  <a:lnTo>
                    <a:pt x="118" y="760"/>
                  </a:lnTo>
                  <a:lnTo>
                    <a:pt x="125" y="264"/>
                  </a:lnTo>
                  <a:lnTo>
                    <a:pt x="152" y="265"/>
                  </a:lnTo>
                  <a:lnTo>
                    <a:pt x="145" y="787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1" name="Freeform 48"/>
            <p:cNvSpPr>
              <a:spLocks noEditPoints="1"/>
            </p:cNvSpPr>
            <p:nvPr/>
          </p:nvSpPr>
          <p:spPr bwMode="auto">
            <a:xfrm>
              <a:off x="5974472" y="3201130"/>
              <a:ext cx="342900" cy="220663"/>
            </a:xfrm>
            <a:custGeom>
              <a:avLst/>
              <a:gdLst>
                <a:gd name="T0" fmla="*/ 26 w 216"/>
                <a:gd name="T1" fmla="*/ 139 h 139"/>
                <a:gd name="T2" fmla="*/ 0 w 216"/>
                <a:gd name="T3" fmla="*/ 71 h 139"/>
                <a:gd name="T4" fmla="*/ 190 w 216"/>
                <a:gd name="T5" fmla="*/ 0 h 139"/>
                <a:gd name="T6" fmla="*/ 216 w 216"/>
                <a:gd name="T7" fmla="*/ 69 h 139"/>
                <a:gd name="T8" fmla="*/ 26 w 216"/>
                <a:gd name="T9" fmla="*/ 139 h 139"/>
                <a:gd name="T10" fmla="*/ 36 w 216"/>
                <a:gd name="T11" fmla="*/ 86 h 139"/>
                <a:gd name="T12" fmla="*/ 42 w 216"/>
                <a:gd name="T13" fmla="*/ 104 h 139"/>
                <a:gd name="T14" fmla="*/ 180 w 216"/>
                <a:gd name="T15" fmla="*/ 53 h 139"/>
                <a:gd name="T16" fmla="*/ 174 w 216"/>
                <a:gd name="T17" fmla="*/ 35 h 139"/>
                <a:gd name="T18" fmla="*/ 36 w 216"/>
                <a:gd name="T19" fmla="*/ 86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6" h="139">
                  <a:moveTo>
                    <a:pt x="26" y="139"/>
                  </a:moveTo>
                  <a:lnTo>
                    <a:pt x="0" y="71"/>
                  </a:lnTo>
                  <a:lnTo>
                    <a:pt x="190" y="0"/>
                  </a:lnTo>
                  <a:lnTo>
                    <a:pt x="216" y="69"/>
                  </a:lnTo>
                  <a:lnTo>
                    <a:pt x="26" y="139"/>
                  </a:lnTo>
                  <a:close/>
                  <a:moveTo>
                    <a:pt x="36" y="86"/>
                  </a:moveTo>
                  <a:lnTo>
                    <a:pt x="42" y="104"/>
                  </a:lnTo>
                  <a:lnTo>
                    <a:pt x="180" y="53"/>
                  </a:lnTo>
                  <a:lnTo>
                    <a:pt x="174" y="35"/>
                  </a:lnTo>
                  <a:lnTo>
                    <a:pt x="36" y="86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2" name="Freeform 49"/>
            <p:cNvSpPr>
              <a:spLocks/>
            </p:cNvSpPr>
            <p:nvPr/>
          </p:nvSpPr>
          <p:spPr bwMode="auto">
            <a:xfrm>
              <a:off x="5980822" y="3134455"/>
              <a:ext cx="277813" cy="192088"/>
            </a:xfrm>
            <a:custGeom>
              <a:avLst/>
              <a:gdLst>
                <a:gd name="T0" fmla="*/ 18 w 206"/>
                <a:gd name="T1" fmla="*/ 142 h 142"/>
                <a:gd name="T2" fmla="*/ 80 w 206"/>
                <a:gd name="T3" fmla="*/ 19 h 142"/>
                <a:gd name="T4" fmla="*/ 206 w 206"/>
                <a:gd name="T5" fmla="*/ 72 h 142"/>
                <a:gd name="T6" fmla="*/ 176 w 206"/>
                <a:gd name="T7" fmla="*/ 83 h 142"/>
                <a:gd name="T8" fmla="*/ 91 w 206"/>
                <a:gd name="T9" fmla="*/ 49 h 142"/>
                <a:gd name="T10" fmla="*/ 48 w 206"/>
                <a:gd name="T11" fmla="*/ 131 h 142"/>
                <a:gd name="T12" fmla="*/ 18 w 206"/>
                <a:gd name="T1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142">
                  <a:moveTo>
                    <a:pt x="18" y="142"/>
                  </a:moveTo>
                  <a:cubicBezTo>
                    <a:pt x="0" y="94"/>
                    <a:pt x="28" y="39"/>
                    <a:pt x="80" y="19"/>
                  </a:cubicBezTo>
                  <a:cubicBezTo>
                    <a:pt x="132" y="0"/>
                    <a:pt x="188" y="24"/>
                    <a:pt x="206" y="72"/>
                  </a:cubicBezTo>
                  <a:cubicBezTo>
                    <a:pt x="176" y="83"/>
                    <a:pt x="176" y="83"/>
                    <a:pt x="176" y="83"/>
                  </a:cubicBezTo>
                  <a:cubicBezTo>
                    <a:pt x="165" y="52"/>
                    <a:pt x="126" y="36"/>
                    <a:pt x="91" y="49"/>
                  </a:cubicBezTo>
                  <a:cubicBezTo>
                    <a:pt x="56" y="63"/>
                    <a:pt x="37" y="99"/>
                    <a:pt x="48" y="131"/>
                  </a:cubicBezTo>
                  <a:lnTo>
                    <a:pt x="18" y="142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3" name="Freeform 50"/>
            <p:cNvSpPr>
              <a:spLocks/>
            </p:cNvSpPr>
            <p:nvPr/>
          </p:nvSpPr>
          <p:spPr bwMode="auto">
            <a:xfrm>
              <a:off x="6077660" y="3182080"/>
              <a:ext cx="77788" cy="106363"/>
            </a:xfrm>
            <a:custGeom>
              <a:avLst/>
              <a:gdLst>
                <a:gd name="T0" fmla="*/ 24 w 49"/>
                <a:gd name="T1" fmla="*/ 67 h 67"/>
                <a:gd name="T2" fmla="*/ 0 w 49"/>
                <a:gd name="T3" fmla="*/ 10 h 67"/>
                <a:gd name="T4" fmla="*/ 26 w 49"/>
                <a:gd name="T5" fmla="*/ 0 h 67"/>
                <a:gd name="T6" fmla="*/ 49 w 49"/>
                <a:gd name="T7" fmla="*/ 57 h 67"/>
                <a:gd name="T8" fmla="*/ 24 w 49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7">
                  <a:moveTo>
                    <a:pt x="24" y="67"/>
                  </a:moveTo>
                  <a:lnTo>
                    <a:pt x="0" y="10"/>
                  </a:lnTo>
                  <a:lnTo>
                    <a:pt x="26" y="0"/>
                  </a:lnTo>
                  <a:lnTo>
                    <a:pt x="49" y="57"/>
                  </a:lnTo>
                  <a:lnTo>
                    <a:pt x="24" y="67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4" name="Freeform 51"/>
            <p:cNvSpPr>
              <a:spLocks/>
            </p:cNvSpPr>
            <p:nvPr/>
          </p:nvSpPr>
          <p:spPr bwMode="auto">
            <a:xfrm>
              <a:off x="5979235" y="3758343"/>
              <a:ext cx="377825" cy="600075"/>
            </a:xfrm>
            <a:custGeom>
              <a:avLst/>
              <a:gdLst>
                <a:gd name="T0" fmla="*/ 20 w 238"/>
                <a:gd name="T1" fmla="*/ 378 h 378"/>
                <a:gd name="T2" fmla="*/ 0 w 238"/>
                <a:gd name="T3" fmla="*/ 302 h 378"/>
                <a:gd name="T4" fmla="*/ 211 w 238"/>
                <a:gd name="T5" fmla="*/ 238 h 378"/>
                <a:gd name="T6" fmla="*/ 211 w 238"/>
                <a:gd name="T7" fmla="*/ 0 h 378"/>
                <a:gd name="T8" fmla="*/ 238 w 238"/>
                <a:gd name="T9" fmla="*/ 0 h 378"/>
                <a:gd name="T10" fmla="*/ 238 w 238"/>
                <a:gd name="T11" fmla="*/ 259 h 378"/>
                <a:gd name="T12" fmla="*/ 33 w 238"/>
                <a:gd name="T13" fmla="*/ 321 h 378"/>
                <a:gd name="T14" fmla="*/ 47 w 238"/>
                <a:gd name="T15" fmla="*/ 371 h 378"/>
                <a:gd name="T16" fmla="*/ 20 w 238"/>
                <a:gd name="T17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8" h="378">
                  <a:moveTo>
                    <a:pt x="20" y="378"/>
                  </a:moveTo>
                  <a:lnTo>
                    <a:pt x="0" y="302"/>
                  </a:lnTo>
                  <a:lnTo>
                    <a:pt x="211" y="238"/>
                  </a:lnTo>
                  <a:lnTo>
                    <a:pt x="211" y="0"/>
                  </a:lnTo>
                  <a:lnTo>
                    <a:pt x="238" y="0"/>
                  </a:lnTo>
                  <a:lnTo>
                    <a:pt x="238" y="259"/>
                  </a:lnTo>
                  <a:lnTo>
                    <a:pt x="33" y="321"/>
                  </a:lnTo>
                  <a:lnTo>
                    <a:pt x="47" y="371"/>
                  </a:lnTo>
                  <a:lnTo>
                    <a:pt x="20" y="378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5" name="Freeform 52"/>
            <p:cNvSpPr>
              <a:spLocks/>
            </p:cNvSpPr>
            <p:nvPr/>
          </p:nvSpPr>
          <p:spPr bwMode="auto">
            <a:xfrm>
              <a:off x="5907797" y="3845655"/>
              <a:ext cx="96838" cy="142875"/>
            </a:xfrm>
            <a:custGeom>
              <a:avLst/>
              <a:gdLst>
                <a:gd name="T0" fmla="*/ 16 w 61"/>
                <a:gd name="T1" fmla="*/ 90 h 90"/>
                <a:gd name="T2" fmla="*/ 0 w 61"/>
                <a:gd name="T3" fmla="*/ 82 h 90"/>
                <a:gd name="T4" fmla="*/ 46 w 61"/>
                <a:gd name="T5" fmla="*/ 0 h 90"/>
                <a:gd name="T6" fmla="*/ 61 w 61"/>
                <a:gd name="T7" fmla="*/ 9 h 90"/>
                <a:gd name="T8" fmla="*/ 16 w 61"/>
                <a:gd name="T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90">
                  <a:moveTo>
                    <a:pt x="16" y="90"/>
                  </a:moveTo>
                  <a:lnTo>
                    <a:pt x="0" y="82"/>
                  </a:lnTo>
                  <a:lnTo>
                    <a:pt x="46" y="0"/>
                  </a:lnTo>
                  <a:lnTo>
                    <a:pt x="61" y="9"/>
                  </a:lnTo>
                  <a:lnTo>
                    <a:pt x="16" y="90"/>
                  </a:lnTo>
                  <a:close/>
                </a:path>
              </a:pathLst>
            </a:custGeom>
            <a:solidFill>
              <a:srgbClr val="5F7A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6" name="Freeform 53"/>
            <p:cNvSpPr>
              <a:spLocks/>
            </p:cNvSpPr>
            <p:nvPr/>
          </p:nvSpPr>
          <p:spPr bwMode="auto">
            <a:xfrm>
              <a:off x="5849060" y="3982180"/>
              <a:ext cx="98425" cy="66675"/>
            </a:xfrm>
            <a:custGeom>
              <a:avLst/>
              <a:gdLst>
                <a:gd name="T0" fmla="*/ 52 w 73"/>
                <a:gd name="T1" fmla="*/ 49 h 49"/>
                <a:gd name="T2" fmla="*/ 34 w 73"/>
                <a:gd name="T3" fmla="*/ 28 h 49"/>
                <a:gd name="T4" fmla="*/ 8 w 73"/>
                <a:gd name="T5" fmla="*/ 25 h 49"/>
                <a:gd name="T6" fmla="*/ 0 w 73"/>
                <a:gd name="T7" fmla="*/ 5 h 49"/>
                <a:gd name="T8" fmla="*/ 44 w 73"/>
                <a:gd name="T9" fmla="*/ 9 h 49"/>
                <a:gd name="T10" fmla="*/ 73 w 73"/>
                <a:gd name="T11" fmla="*/ 46 h 49"/>
                <a:gd name="T12" fmla="*/ 52 w 73"/>
                <a:gd name="T1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49">
                  <a:moveTo>
                    <a:pt x="52" y="49"/>
                  </a:moveTo>
                  <a:cubicBezTo>
                    <a:pt x="51" y="41"/>
                    <a:pt x="44" y="33"/>
                    <a:pt x="34" y="28"/>
                  </a:cubicBezTo>
                  <a:cubicBezTo>
                    <a:pt x="25" y="23"/>
                    <a:pt x="15" y="22"/>
                    <a:pt x="8" y="2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3" y="0"/>
                    <a:pt x="29" y="1"/>
                    <a:pt x="44" y="9"/>
                  </a:cubicBezTo>
                  <a:cubicBezTo>
                    <a:pt x="60" y="17"/>
                    <a:pt x="70" y="31"/>
                    <a:pt x="73" y="46"/>
                  </a:cubicBezTo>
                  <a:lnTo>
                    <a:pt x="52" y="4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7" name="Freeform 54"/>
            <p:cNvSpPr>
              <a:spLocks/>
            </p:cNvSpPr>
            <p:nvPr/>
          </p:nvSpPr>
          <p:spPr bwMode="auto">
            <a:xfrm>
              <a:off x="5742697" y="3950430"/>
              <a:ext cx="179388" cy="325438"/>
            </a:xfrm>
            <a:custGeom>
              <a:avLst/>
              <a:gdLst>
                <a:gd name="T0" fmla="*/ 89 w 113"/>
                <a:gd name="T1" fmla="*/ 205 h 205"/>
                <a:gd name="T2" fmla="*/ 0 w 113"/>
                <a:gd name="T3" fmla="*/ 11 h 205"/>
                <a:gd name="T4" fmla="*/ 25 w 113"/>
                <a:gd name="T5" fmla="*/ 0 h 205"/>
                <a:gd name="T6" fmla="*/ 113 w 113"/>
                <a:gd name="T7" fmla="*/ 194 h 205"/>
                <a:gd name="T8" fmla="*/ 89 w 113"/>
                <a:gd name="T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205">
                  <a:moveTo>
                    <a:pt x="89" y="205"/>
                  </a:moveTo>
                  <a:lnTo>
                    <a:pt x="0" y="11"/>
                  </a:lnTo>
                  <a:lnTo>
                    <a:pt x="25" y="0"/>
                  </a:lnTo>
                  <a:lnTo>
                    <a:pt x="113" y="194"/>
                  </a:lnTo>
                  <a:lnTo>
                    <a:pt x="89" y="205"/>
                  </a:lnTo>
                  <a:close/>
                </a:path>
              </a:pathLst>
            </a:custGeom>
            <a:solidFill>
              <a:srgbClr val="8074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8" name="Freeform 55"/>
            <p:cNvSpPr>
              <a:spLocks/>
            </p:cNvSpPr>
            <p:nvPr/>
          </p:nvSpPr>
          <p:spPr bwMode="auto">
            <a:xfrm>
              <a:off x="5887160" y="4258405"/>
              <a:ext cx="69850" cy="122238"/>
            </a:xfrm>
            <a:custGeom>
              <a:avLst/>
              <a:gdLst>
                <a:gd name="T0" fmla="*/ 8 w 52"/>
                <a:gd name="T1" fmla="*/ 91 h 91"/>
                <a:gd name="T2" fmla="*/ 7 w 52"/>
                <a:gd name="T3" fmla="*/ 38 h 91"/>
                <a:gd name="T4" fmla="*/ 44 w 52"/>
                <a:gd name="T5" fmla="*/ 0 h 91"/>
                <a:gd name="T6" fmla="*/ 52 w 52"/>
                <a:gd name="T7" fmla="*/ 19 h 91"/>
                <a:gd name="T8" fmla="*/ 27 w 52"/>
                <a:gd name="T9" fmla="*/ 46 h 91"/>
                <a:gd name="T10" fmla="*/ 28 w 52"/>
                <a:gd name="T11" fmla="*/ 82 h 91"/>
                <a:gd name="T12" fmla="*/ 8 w 52"/>
                <a:gd name="T13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91">
                  <a:moveTo>
                    <a:pt x="8" y="91"/>
                  </a:moveTo>
                  <a:cubicBezTo>
                    <a:pt x="1" y="74"/>
                    <a:pt x="0" y="55"/>
                    <a:pt x="7" y="38"/>
                  </a:cubicBezTo>
                  <a:cubicBezTo>
                    <a:pt x="13" y="21"/>
                    <a:pt x="27" y="7"/>
                    <a:pt x="44" y="0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40" y="24"/>
                    <a:pt x="31" y="34"/>
                    <a:pt x="27" y="46"/>
                  </a:cubicBezTo>
                  <a:cubicBezTo>
                    <a:pt x="22" y="58"/>
                    <a:pt x="22" y="71"/>
                    <a:pt x="28" y="82"/>
                  </a:cubicBezTo>
                  <a:lnTo>
                    <a:pt x="8" y="9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19" name="Freeform 56"/>
            <p:cNvSpPr>
              <a:spLocks/>
            </p:cNvSpPr>
            <p:nvPr/>
          </p:nvSpPr>
          <p:spPr bwMode="auto">
            <a:xfrm>
              <a:off x="6052260" y="3361468"/>
              <a:ext cx="212725" cy="265113"/>
            </a:xfrm>
            <a:custGeom>
              <a:avLst/>
              <a:gdLst>
                <a:gd name="T0" fmla="*/ 140 w 158"/>
                <a:gd name="T1" fmla="*/ 197 h 197"/>
                <a:gd name="T2" fmla="*/ 109 w 158"/>
                <a:gd name="T3" fmla="*/ 141 h 197"/>
                <a:gd name="T4" fmla="*/ 57 w 158"/>
                <a:gd name="T5" fmla="*/ 137 h 197"/>
                <a:gd name="T6" fmla="*/ 4 w 158"/>
                <a:gd name="T7" fmla="*/ 29 h 197"/>
                <a:gd name="T8" fmla="*/ 0 w 158"/>
                <a:gd name="T9" fmla="*/ 4 h 197"/>
                <a:gd name="T10" fmla="*/ 21 w 158"/>
                <a:gd name="T11" fmla="*/ 0 h 197"/>
                <a:gd name="T12" fmla="*/ 25 w 158"/>
                <a:gd name="T13" fmla="*/ 27 h 197"/>
                <a:gd name="T14" fmla="*/ 65 w 158"/>
                <a:gd name="T15" fmla="*/ 117 h 197"/>
                <a:gd name="T16" fmla="*/ 109 w 158"/>
                <a:gd name="T17" fmla="*/ 118 h 197"/>
                <a:gd name="T18" fmla="*/ 118 w 158"/>
                <a:gd name="T19" fmla="*/ 113 h 197"/>
                <a:gd name="T20" fmla="*/ 158 w 158"/>
                <a:gd name="T21" fmla="*/ 187 h 197"/>
                <a:gd name="T22" fmla="*/ 140 w 158"/>
                <a:gd name="T23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8" h="197">
                  <a:moveTo>
                    <a:pt x="140" y="197"/>
                  </a:moveTo>
                  <a:cubicBezTo>
                    <a:pt x="109" y="141"/>
                    <a:pt x="109" y="141"/>
                    <a:pt x="109" y="141"/>
                  </a:cubicBezTo>
                  <a:cubicBezTo>
                    <a:pt x="98" y="144"/>
                    <a:pt x="79" y="146"/>
                    <a:pt x="57" y="137"/>
                  </a:cubicBezTo>
                  <a:cubicBezTo>
                    <a:pt x="15" y="119"/>
                    <a:pt x="9" y="67"/>
                    <a:pt x="4" y="29"/>
                  </a:cubicBezTo>
                  <a:cubicBezTo>
                    <a:pt x="2" y="20"/>
                    <a:pt x="1" y="11"/>
                    <a:pt x="0" y="4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7"/>
                    <a:pt x="23" y="17"/>
                    <a:pt x="25" y="27"/>
                  </a:cubicBezTo>
                  <a:cubicBezTo>
                    <a:pt x="29" y="61"/>
                    <a:pt x="35" y="104"/>
                    <a:pt x="65" y="117"/>
                  </a:cubicBezTo>
                  <a:cubicBezTo>
                    <a:pt x="90" y="128"/>
                    <a:pt x="109" y="118"/>
                    <a:pt x="109" y="118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58" y="187"/>
                    <a:pt x="158" y="187"/>
                    <a:pt x="158" y="187"/>
                  </a:cubicBezTo>
                  <a:lnTo>
                    <a:pt x="140" y="19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0" name="Freeform 57"/>
            <p:cNvSpPr>
              <a:spLocks/>
            </p:cNvSpPr>
            <p:nvPr/>
          </p:nvSpPr>
          <p:spPr bwMode="auto">
            <a:xfrm>
              <a:off x="6107822" y="3590068"/>
              <a:ext cx="347663" cy="698500"/>
            </a:xfrm>
            <a:custGeom>
              <a:avLst/>
              <a:gdLst>
                <a:gd name="T0" fmla="*/ 9 w 258"/>
                <a:gd name="T1" fmla="*/ 518 h 518"/>
                <a:gd name="T2" fmla="*/ 2 w 258"/>
                <a:gd name="T3" fmla="*/ 216 h 518"/>
                <a:gd name="T4" fmla="*/ 164 w 258"/>
                <a:gd name="T5" fmla="*/ 1 h 518"/>
                <a:gd name="T6" fmla="*/ 168 w 258"/>
                <a:gd name="T7" fmla="*/ 0 h 518"/>
                <a:gd name="T8" fmla="*/ 172 w 258"/>
                <a:gd name="T9" fmla="*/ 1 h 518"/>
                <a:gd name="T10" fmla="*/ 258 w 258"/>
                <a:gd name="T11" fmla="*/ 115 h 518"/>
                <a:gd name="T12" fmla="*/ 226 w 258"/>
                <a:gd name="T13" fmla="*/ 118 h 518"/>
                <a:gd name="T14" fmla="*/ 168 w 258"/>
                <a:gd name="T15" fmla="*/ 33 h 518"/>
                <a:gd name="T16" fmla="*/ 34 w 258"/>
                <a:gd name="T17" fmla="*/ 215 h 518"/>
                <a:gd name="T18" fmla="*/ 41 w 258"/>
                <a:gd name="T19" fmla="*/ 517 h 518"/>
                <a:gd name="T20" fmla="*/ 9 w 258"/>
                <a:gd name="T21" fmla="*/ 518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8" h="518">
                  <a:moveTo>
                    <a:pt x="9" y="518"/>
                  </a:moveTo>
                  <a:cubicBezTo>
                    <a:pt x="9" y="515"/>
                    <a:pt x="3" y="254"/>
                    <a:pt x="2" y="216"/>
                  </a:cubicBezTo>
                  <a:cubicBezTo>
                    <a:pt x="0" y="169"/>
                    <a:pt x="108" y="17"/>
                    <a:pt x="164" y="1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72" y="1"/>
                    <a:pt x="172" y="1"/>
                    <a:pt x="172" y="1"/>
                  </a:cubicBezTo>
                  <a:cubicBezTo>
                    <a:pt x="235" y="17"/>
                    <a:pt x="255" y="89"/>
                    <a:pt x="258" y="115"/>
                  </a:cubicBezTo>
                  <a:cubicBezTo>
                    <a:pt x="226" y="118"/>
                    <a:pt x="226" y="118"/>
                    <a:pt x="226" y="118"/>
                  </a:cubicBezTo>
                  <a:cubicBezTo>
                    <a:pt x="224" y="100"/>
                    <a:pt x="210" y="47"/>
                    <a:pt x="168" y="33"/>
                  </a:cubicBezTo>
                  <a:cubicBezTo>
                    <a:pt x="123" y="52"/>
                    <a:pt x="33" y="186"/>
                    <a:pt x="34" y="215"/>
                  </a:cubicBezTo>
                  <a:cubicBezTo>
                    <a:pt x="35" y="253"/>
                    <a:pt x="41" y="514"/>
                    <a:pt x="41" y="517"/>
                  </a:cubicBezTo>
                  <a:lnTo>
                    <a:pt x="9" y="518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  <p:sp>
          <p:nvSpPr>
            <p:cNvPr id="21" name="Freeform 58"/>
            <p:cNvSpPr>
              <a:spLocks/>
            </p:cNvSpPr>
            <p:nvPr/>
          </p:nvSpPr>
          <p:spPr bwMode="auto">
            <a:xfrm>
              <a:off x="5968122" y="3985355"/>
              <a:ext cx="131763" cy="139700"/>
            </a:xfrm>
            <a:custGeom>
              <a:avLst/>
              <a:gdLst>
                <a:gd name="T0" fmla="*/ 14 w 83"/>
                <a:gd name="T1" fmla="*/ 88 h 88"/>
                <a:gd name="T2" fmla="*/ 0 w 83"/>
                <a:gd name="T3" fmla="*/ 13 h 88"/>
                <a:gd name="T4" fmla="*/ 78 w 83"/>
                <a:gd name="T5" fmla="*/ 0 h 88"/>
                <a:gd name="T6" fmla="*/ 83 w 83"/>
                <a:gd name="T7" fmla="*/ 27 h 88"/>
                <a:gd name="T8" fmla="*/ 32 w 83"/>
                <a:gd name="T9" fmla="*/ 35 h 88"/>
                <a:gd name="T10" fmla="*/ 41 w 83"/>
                <a:gd name="T11" fmla="*/ 82 h 88"/>
                <a:gd name="T12" fmla="*/ 14 w 83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3" h="88">
                  <a:moveTo>
                    <a:pt x="14" y="88"/>
                  </a:moveTo>
                  <a:lnTo>
                    <a:pt x="0" y="13"/>
                  </a:lnTo>
                  <a:lnTo>
                    <a:pt x="78" y="0"/>
                  </a:lnTo>
                  <a:lnTo>
                    <a:pt x="83" y="27"/>
                  </a:lnTo>
                  <a:lnTo>
                    <a:pt x="32" y="35"/>
                  </a:lnTo>
                  <a:lnTo>
                    <a:pt x="41" y="82"/>
                  </a:lnTo>
                  <a:lnTo>
                    <a:pt x="14" y="88"/>
                  </a:lnTo>
                  <a:close/>
                </a:path>
              </a:pathLst>
            </a:custGeom>
            <a:solidFill>
              <a:srgbClr val="FF8D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pic>
        <p:nvPicPr>
          <p:cNvPr id="22" name="Picture 21" descr="telephone_wires_01.eps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646" y="2462689"/>
            <a:ext cx="2372006" cy="561375"/>
          </a:xfrm>
          <a:prstGeom prst="rect">
            <a:avLst/>
          </a:prstGeom>
        </p:spPr>
      </p:pic>
      <p:pic>
        <p:nvPicPr>
          <p:cNvPr id="27" name="Picture 26" descr="Plan_02.eps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8706" y="2018590"/>
            <a:ext cx="1989650" cy="100477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008" y="4550043"/>
            <a:ext cx="1470907" cy="1063957"/>
          </a:xfrm>
          <a:prstGeom prst="rect">
            <a:avLst/>
          </a:prstGeom>
        </p:spPr>
      </p:pic>
      <p:pic>
        <p:nvPicPr>
          <p:cNvPr id="29" name="Picture 28" descr="control_room_02.eps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041" y="2044784"/>
            <a:ext cx="1894658" cy="103890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7342" y="3550732"/>
            <a:ext cx="691418" cy="698402"/>
          </a:xfrm>
          <a:prstGeom prst="rect">
            <a:avLst/>
          </a:prstGeom>
        </p:spPr>
      </p:pic>
      <p:pic>
        <p:nvPicPr>
          <p:cNvPr id="23" name="Content Placeholder 8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0654" y="2044786"/>
            <a:ext cx="1220741" cy="862832"/>
          </a:xfrm>
          <a:prstGeom prst="rect">
            <a:avLst/>
          </a:prstGeom>
        </p:spPr>
      </p:pic>
      <p:grpSp>
        <p:nvGrpSpPr>
          <p:cNvPr id="37" name="Group 36"/>
          <p:cNvGrpSpPr/>
          <p:nvPr/>
        </p:nvGrpSpPr>
        <p:grpSpPr>
          <a:xfrm>
            <a:off x="3321133" y="4133060"/>
            <a:ext cx="1112474" cy="545021"/>
            <a:chOff x="4371237" y="4647211"/>
            <a:chExt cx="1695762" cy="788649"/>
          </a:xfrm>
        </p:grpSpPr>
        <p:pic>
          <p:nvPicPr>
            <p:cNvPr id="33" name="Picture 32">
              <a:extLst>
                <a:ext uri="{FF2B5EF4-FFF2-40B4-BE49-F238E27FC236}">
                  <a16:creationId xmlns="" xmlns:a16="http://schemas.microsoft.com/office/drawing/2014/main" id="{5FCA2292-FBCB-4714-B852-897B6B032D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80476" y="4662423"/>
              <a:ext cx="796533" cy="375021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="" xmlns:a16="http://schemas.microsoft.com/office/drawing/2014/main" id="{767C05FC-16B6-435F-AE7B-7A88A6548D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71237" y="5060839"/>
              <a:ext cx="796533" cy="375021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="" xmlns:a16="http://schemas.microsoft.com/office/drawing/2014/main" id="{50E8538F-C7CA-40CB-B3E2-2431370378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70466" y="5039723"/>
              <a:ext cx="796533" cy="375021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="" xmlns:a16="http://schemas.microsoft.com/office/drawing/2014/main" id="{53F4569E-1A1C-4C24-A92F-A9BBF2E14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60979" y="4647211"/>
              <a:ext cx="796533" cy="375021"/>
            </a:xfrm>
            <a:prstGeom prst="rect">
              <a:avLst/>
            </a:prstGeom>
          </p:spPr>
        </p:pic>
      </p:grpSp>
      <p:cxnSp>
        <p:nvCxnSpPr>
          <p:cNvPr id="39" name="Straight Arrow Connector 38"/>
          <p:cNvCxnSpPr>
            <a:stCxn id="22" idx="2"/>
          </p:cNvCxnSpPr>
          <p:nvPr/>
        </p:nvCxnSpPr>
        <p:spPr>
          <a:xfrm>
            <a:off x="1561648" y="3024064"/>
            <a:ext cx="14801" cy="587493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>
            <a:stCxn id="4" idx="3"/>
            <a:endCxn id="5" idx="1"/>
          </p:cNvCxnSpPr>
          <p:nvPr/>
        </p:nvCxnSpPr>
        <p:spPr>
          <a:xfrm>
            <a:off x="2203316" y="3951385"/>
            <a:ext cx="584027" cy="485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4" idx="1"/>
          </p:cNvCxnSpPr>
          <p:nvPr/>
        </p:nvCxnSpPr>
        <p:spPr>
          <a:xfrm rot="10800000" flipH="1" flipV="1">
            <a:off x="919982" y="3951382"/>
            <a:ext cx="390876" cy="967888"/>
          </a:xfrm>
          <a:prstGeom prst="bentConnector4">
            <a:avLst>
              <a:gd name="adj1" fmla="val -43863"/>
              <a:gd name="adj2" fmla="val 99706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5" idx="3"/>
            <a:endCxn id="24" idx="1"/>
          </p:cNvCxnSpPr>
          <p:nvPr/>
        </p:nvCxnSpPr>
        <p:spPr>
          <a:xfrm flipV="1">
            <a:off x="4967398" y="3945596"/>
            <a:ext cx="479816" cy="627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5" idx="0"/>
            <a:endCxn id="29" idx="2"/>
          </p:cNvCxnSpPr>
          <p:nvPr/>
        </p:nvCxnSpPr>
        <p:spPr>
          <a:xfrm flipV="1">
            <a:off x="3877370" y="3083689"/>
            <a:ext cx="0" cy="57091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/>
          <p:cNvCxnSpPr>
            <a:stCxn id="7" idx="1"/>
            <a:endCxn id="35" idx="2"/>
          </p:cNvCxnSpPr>
          <p:nvPr/>
        </p:nvCxnSpPr>
        <p:spPr>
          <a:xfrm rot="10800000">
            <a:off x="4172331" y="4663488"/>
            <a:ext cx="1373678" cy="836943"/>
          </a:xfrm>
          <a:prstGeom prst="bentConnector2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24" idx="2"/>
            <a:endCxn id="6" idx="0"/>
          </p:cNvCxnSpPr>
          <p:nvPr/>
        </p:nvCxnSpPr>
        <p:spPr>
          <a:xfrm flipH="1">
            <a:off x="6093192" y="4279630"/>
            <a:ext cx="3740" cy="161567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/>
          <p:cNvCxnSpPr>
            <a:stCxn id="24" idx="0"/>
          </p:cNvCxnSpPr>
          <p:nvPr/>
        </p:nvCxnSpPr>
        <p:spPr>
          <a:xfrm flipH="1" flipV="1">
            <a:off x="6093192" y="3150355"/>
            <a:ext cx="3740" cy="461204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7207266" y="1838225"/>
            <a:ext cx="1552534" cy="1803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Бизнес-аналитика</a:t>
            </a:r>
            <a:endParaRPr lang="en-US" sz="1350" b="1" dirty="0"/>
          </a:p>
        </p:txBody>
      </p:sp>
      <p:sp>
        <p:nvSpPr>
          <p:cNvPr id="65" name="TextBox 64"/>
          <p:cNvSpPr txBox="1"/>
          <p:nvPr/>
        </p:nvSpPr>
        <p:spPr>
          <a:xfrm>
            <a:off x="7011225" y="3324271"/>
            <a:ext cx="1552534" cy="1803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Большие данные</a:t>
            </a:r>
            <a:endParaRPr lang="en-US" sz="1350" b="1" dirty="0"/>
          </a:p>
        </p:txBody>
      </p:sp>
      <p:sp>
        <p:nvSpPr>
          <p:cNvPr id="66" name="TextBox 65"/>
          <p:cNvSpPr txBox="1"/>
          <p:nvPr/>
        </p:nvSpPr>
        <p:spPr>
          <a:xfrm>
            <a:off x="7028312" y="4386641"/>
            <a:ext cx="1749301" cy="13262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Машинное обучение</a:t>
            </a:r>
            <a:endParaRPr lang="en-US" sz="1350" b="1" dirty="0"/>
          </a:p>
        </p:txBody>
      </p:sp>
      <p:sp>
        <p:nvSpPr>
          <p:cNvPr id="67" name="TextBox 66"/>
          <p:cNvSpPr txBox="1"/>
          <p:nvPr/>
        </p:nvSpPr>
        <p:spPr>
          <a:xfrm>
            <a:off x="2977942" y="1836584"/>
            <a:ext cx="1798854" cy="20145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350" b="1" dirty="0"/>
              <a:t>Умное производство</a:t>
            </a:r>
            <a:endParaRPr lang="en-US" sz="1350" b="1" dirty="0"/>
          </a:p>
        </p:txBody>
      </p:sp>
      <p:sp>
        <p:nvSpPr>
          <p:cNvPr id="69" name="TextBox 68"/>
          <p:cNvSpPr txBox="1"/>
          <p:nvPr/>
        </p:nvSpPr>
        <p:spPr>
          <a:xfrm rot="5400000">
            <a:off x="2010496" y="3891466"/>
            <a:ext cx="922829" cy="130139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050" b="1" dirty="0"/>
              <a:t>Данные</a:t>
            </a:r>
            <a:endParaRPr lang="en-US" sz="1050" b="1" dirty="0"/>
          </a:p>
        </p:txBody>
      </p:sp>
      <p:sp>
        <p:nvSpPr>
          <p:cNvPr id="70" name="TextBox 69"/>
          <p:cNvSpPr txBox="1"/>
          <p:nvPr/>
        </p:nvSpPr>
        <p:spPr>
          <a:xfrm rot="5400000">
            <a:off x="4707354" y="3900980"/>
            <a:ext cx="922829" cy="130139"/>
          </a:xfrm>
          <a:prstGeom prst="rect">
            <a:avLst/>
          </a:prstGeom>
          <a:solidFill>
            <a:schemeClr val="bg1"/>
          </a:solidFill>
        </p:spPr>
        <p:txBody>
          <a:bodyPr vert="vert270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050" b="1" dirty="0"/>
              <a:t>Данные</a:t>
            </a:r>
            <a:endParaRPr lang="en-US" sz="1050" b="1" dirty="0"/>
          </a:p>
        </p:txBody>
      </p:sp>
      <p:sp>
        <p:nvSpPr>
          <p:cNvPr id="71" name="TextBox 70"/>
          <p:cNvSpPr txBox="1"/>
          <p:nvPr/>
        </p:nvSpPr>
        <p:spPr>
          <a:xfrm>
            <a:off x="1115420" y="3154352"/>
            <a:ext cx="922829" cy="25509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050" b="1" dirty="0"/>
              <a:t>Данные</a:t>
            </a:r>
          </a:p>
          <a:p>
            <a:pPr algn="ctr">
              <a:lnSpc>
                <a:spcPct val="90000"/>
              </a:lnSpc>
            </a:pPr>
            <a:r>
              <a:rPr lang="ru-RU" sz="1050" b="1" dirty="0"/>
              <a:t>Телеметрия</a:t>
            </a:r>
            <a:endParaRPr lang="en-US" sz="1050" b="1" dirty="0"/>
          </a:p>
        </p:txBody>
      </p:sp>
      <p:sp>
        <p:nvSpPr>
          <p:cNvPr id="72" name="TextBox 71"/>
          <p:cNvSpPr txBox="1"/>
          <p:nvPr/>
        </p:nvSpPr>
        <p:spPr>
          <a:xfrm>
            <a:off x="4427384" y="5454259"/>
            <a:ext cx="540016" cy="19239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050" b="1" dirty="0"/>
              <a:t>Модель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3412546" y="3238210"/>
            <a:ext cx="922829" cy="3199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050" b="1" dirty="0"/>
              <a:t>Результат</a:t>
            </a:r>
          </a:p>
          <a:p>
            <a:pPr algn="ctr">
              <a:lnSpc>
                <a:spcPct val="90000"/>
              </a:lnSpc>
            </a:pPr>
            <a:r>
              <a:rPr lang="ru-RU" sz="1050" b="1" dirty="0"/>
              <a:t>Выводы</a:t>
            </a:r>
            <a:endParaRPr lang="en-US" sz="1050" b="1" dirty="0"/>
          </a:p>
        </p:txBody>
      </p:sp>
      <p:cxnSp>
        <p:nvCxnSpPr>
          <p:cNvPr id="76" name="Elbow Connector 75"/>
          <p:cNvCxnSpPr>
            <a:stCxn id="34" idx="2"/>
          </p:cNvCxnSpPr>
          <p:nvPr/>
        </p:nvCxnSpPr>
        <p:spPr>
          <a:xfrm rot="5400000">
            <a:off x="2552355" y="3889213"/>
            <a:ext cx="241189" cy="1818923"/>
          </a:xfrm>
          <a:prstGeom prst="bentConnector2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2332222" y="4769554"/>
            <a:ext cx="693302" cy="3199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050" b="1" dirty="0"/>
              <a:t>Результат</a:t>
            </a:r>
          </a:p>
          <a:p>
            <a:pPr algn="ctr">
              <a:lnSpc>
                <a:spcPct val="90000"/>
              </a:lnSpc>
            </a:pPr>
            <a:r>
              <a:rPr lang="ru-RU" sz="1050" b="1" dirty="0"/>
              <a:t>Выводы</a:t>
            </a:r>
            <a:endParaRPr lang="en-US" sz="1050" b="1" dirty="0"/>
          </a:p>
        </p:txBody>
      </p:sp>
    </p:spTree>
    <p:extLst>
      <p:ext uri="{BB962C8B-B14F-4D97-AF65-F5344CB8AC3E}">
        <p14:creationId xmlns:p14="http://schemas.microsoft.com/office/powerpoint/2010/main" val="88706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10.xml><?xml version="1.0" encoding="utf-8"?>
<a:theme xmlns:a="http://schemas.openxmlformats.org/drawingml/2006/main" name="6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11.xml><?xml version="1.0" encoding="utf-8"?>
<a:theme xmlns:a="http://schemas.openxmlformats.org/drawingml/2006/main" name="1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12.xml><?xml version="1.0" encoding="utf-8"?>
<a:theme xmlns:a="http://schemas.openxmlformats.org/drawingml/2006/main" name="1_HPE_Events_Metric_16x9_v6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MetricHPE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Presentation9" id="{496BA9E7-2535-A04D-9285-848E1F2DCA5D}" vid="{C60AC4B8-E9A6-6343-9ADF-62FE6FFE240E}"/>
    </a:ext>
  </a:extLst>
</a:theme>
</file>

<file path=ppt/theme/theme13.xml><?xml version="1.0" encoding="utf-8"?>
<a:theme xmlns:a="http://schemas.openxmlformats.org/drawingml/2006/main" name="2_HPE_Standard_Arial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HPE Moonshot Customer Presentation.potx" id="{A2C8FB19-E99C-488D-BD38-E527C3A482CC}" vid="{D38443EF-9277-4D8F-BD5C-0B5AEB387C7F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Custom 1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.potx" id="{21F84462-1C9F-438F-A772-0EBAD7B3BCD8}" vid="{077F0EBE-C80C-4B61-8BF1-0309CF31637A}"/>
    </a:ext>
  </a:extLst>
</a:theme>
</file>

<file path=ppt/theme/theme3.xml><?xml version="1.0" encoding="utf-8"?>
<a:theme xmlns:a="http://schemas.openxmlformats.org/drawingml/2006/main" name="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noFill/>
        </a:ln>
      </a:spPr>
      <a:bodyPr rtlCol="0" anchor="ctr"/>
      <a:lstStyle>
        <a:defPPr>
          <a:spcBef>
            <a:spcPts val="900"/>
          </a:spcBef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spcBef>
            <a:spcPts val="900"/>
          </a:spcBef>
          <a:defRPr dirty="0" smtClean="0"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Training-v3.potx" id="{B9DD3380-C223-4B3D-BAFA-9F0ECA381C8C}" vid="{4A2E6C54-1719-4993-91A8-71F88BBEE272}"/>
    </a:ext>
  </a:extLst>
</a:theme>
</file>

<file path=ppt/theme/theme4.xml><?xml version="1.0" encoding="utf-8"?>
<a:theme xmlns:a="http://schemas.openxmlformats.org/drawingml/2006/main" name="1_HPE_Events_Metric_16x9_v2">
  <a:themeElements>
    <a:clrScheme name="HPE">
      <a:dk1>
        <a:sysClr val="windowText" lastClr="000000"/>
      </a:dk1>
      <a:lt1>
        <a:sysClr val="window" lastClr="FFFFFF"/>
      </a:lt1>
      <a:dk2>
        <a:srgbClr val="425563"/>
      </a:dk2>
      <a:lt2>
        <a:srgbClr val="C6C9CA"/>
      </a:lt2>
      <a:accent1>
        <a:srgbClr val="425563"/>
      </a:accent1>
      <a:accent2>
        <a:srgbClr val="2AD2C9"/>
      </a:accent2>
      <a:accent3>
        <a:srgbClr val="FF8D6D"/>
      </a:accent3>
      <a:accent4>
        <a:srgbClr val="5B4767"/>
      </a:accent4>
      <a:accent5>
        <a:srgbClr val="617D78"/>
      </a:accent5>
      <a:accent6>
        <a:srgbClr val="C6C9CA"/>
      </a:accent6>
      <a:hlink>
        <a:srgbClr val="617D78"/>
      </a:hlink>
      <a:folHlink>
        <a:srgbClr val="8787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1"/>
        </a:solidFill>
        <a:ln w="19050"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0|179|136">
      <a:srgbClr val="00B388"/>
    </a:custClr>
    <a:custClr name="135|123|117">
      <a:srgbClr val="877B75"/>
    </a:custClr>
    <a:custClr name="135|135|135">
      <a:srgbClr val="878787"/>
    </a:custClr>
  </a:custClrLst>
  <a:extLst>
    <a:ext uri="{05A4C25C-085E-4340-85A3-A5531E510DB2}">
      <thm15:themeFamily xmlns:thm15="http://schemas.microsoft.com/office/thememl/2012/main" name="Presentation1" id="{01CC9391-E7BF-344E-8880-08649B12C747}" vid="{4ED40BC0-4B8D-1147-8FA5-32D696147110}"/>
    </a:ext>
  </a:extLst>
</a:theme>
</file>

<file path=ppt/theme/theme5.xml><?xml version="1.0" encoding="utf-8"?>
<a:theme xmlns:a="http://schemas.openxmlformats.org/drawingml/2006/main" name="HPE_Standard_Arial_16x9_SolutionsMarketing">
  <a:themeElements>
    <a:clrScheme name="Custom 1">
      <a:dk1>
        <a:srgbClr val="000000"/>
      </a:dk1>
      <a:lt1>
        <a:srgbClr val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2AD2C8"/>
      </a:hlink>
      <a:folHlink>
        <a:srgbClr val="2AD2C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6.xml><?xml version="1.0" encoding="utf-8"?>
<a:theme xmlns:a="http://schemas.openxmlformats.org/drawingml/2006/main" name="5_Aruba Light Version">
  <a:themeElements>
    <a:clrScheme name="Aruba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8981E"/>
      </a:accent1>
      <a:accent2>
        <a:srgbClr val="8E988D"/>
      </a:accent2>
      <a:accent3>
        <a:srgbClr val="B9971A"/>
      </a:accent3>
      <a:accent4>
        <a:srgbClr val="6A82AA"/>
      </a:accent4>
      <a:accent5>
        <a:srgbClr val="807C63"/>
      </a:accent5>
      <a:accent6>
        <a:srgbClr val="B6AF12"/>
      </a:accent6>
      <a:hlink>
        <a:srgbClr val="404040"/>
      </a:hlink>
      <a:folHlink>
        <a:srgbClr val="BFBFB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Custom 2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8.xml><?xml version="1.0" encoding="utf-8"?>
<a:theme xmlns:a="http://schemas.openxmlformats.org/drawingml/2006/main" name="3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Custom 2">
      <a:majorFont>
        <a:latin typeface="MetricHPE"/>
        <a:ea typeface=""/>
        <a:cs typeface=""/>
      </a:majorFont>
      <a:minorFont>
        <a:latin typeface="MetricHP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9.xml><?xml version="1.0" encoding="utf-8"?>
<a:theme xmlns:a="http://schemas.openxmlformats.org/drawingml/2006/main" name="5_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25</TotalTime>
  <Words>332</Words>
  <Application>Microsoft Office PowerPoint</Application>
  <PresentationFormat>On-screen Show (4:3)</PresentationFormat>
  <Paragraphs>159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9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44" baseType="lpstr">
      <vt:lpstr>MS PGothic</vt:lpstr>
      <vt:lpstr>MS PGothic</vt:lpstr>
      <vt:lpstr>Arial</vt:lpstr>
      <vt:lpstr>Calibri</vt:lpstr>
      <vt:lpstr>Courier New</vt:lpstr>
      <vt:lpstr>Helvetica</vt:lpstr>
      <vt:lpstr>HP Simplified</vt:lpstr>
      <vt:lpstr>Lato Black</vt:lpstr>
      <vt:lpstr>Lato Light</vt:lpstr>
      <vt:lpstr>Lucida Grande</vt:lpstr>
      <vt:lpstr>Metric Regular</vt:lpstr>
      <vt:lpstr>MetricHPE</vt:lpstr>
      <vt:lpstr>MetricHPE Semibold</vt:lpstr>
      <vt:lpstr>Raleway ExtraBold</vt:lpstr>
      <vt:lpstr>Raleway Light</vt:lpstr>
      <vt:lpstr>Symbol</vt:lpstr>
      <vt:lpstr>Times</vt:lpstr>
      <vt:lpstr>Verdana</vt:lpstr>
      <vt:lpstr>Wingdings</vt:lpstr>
      <vt:lpstr>HPE_Standard_Arial_16x9_v2</vt:lpstr>
      <vt:lpstr>1_HPE_Standard_Arial_16x9_v5</vt:lpstr>
      <vt:lpstr>HPE_Standard_Arial_16x9_v5</vt:lpstr>
      <vt:lpstr>1_HPE_Events_Metric_16x9_v2</vt:lpstr>
      <vt:lpstr>HPE_Standard_Arial_16x9_SolutionsMarketing</vt:lpstr>
      <vt:lpstr>5_Aruba Light Version</vt:lpstr>
      <vt:lpstr>2_HPE_Standard_Arial_16x9_v5</vt:lpstr>
      <vt:lpstr>3_HPE_Standard_Arial_16x9_v5</vt:lpstr>
      <vt:lpstr>5_HPE_Standard_Arial_16x9_v5</vt:lpstr>
      <vt:lpstr>6_HPE_Standard_Arial_16x9_v5</vt:lpstr>
      <vt:lpstr>1_HPE_Standard_Arial_16x9_v2</vt:lpstr>
      <vt:lpstr>1_HPE_Events_Metric_16x9_v6</vt:lpstr>
      <vt:lpstr>2_HPE_Standard_Arial_16x9_v2</vt:lpstr>
      <vt:lpstr>think-cell Slide</vt:lpstr>
      <vt:lpstr>Вычислительные платформы для промышленного Интернета вещей</vt:lpstr>
      <vt:lpstr>Тренд «туманных» вычислений</vt:lpstr>
      <vt:lpstr>Тренд «туманных» вычислений</vt:lpstr>
      <vt:lpstr>Драйверы вычислений в «тумане»</vt:lpstr>
      <vt:lpstr>Цифровизация и промышленный Интернет вещей</vt:lpstr>
      <vt:lpstr>Цифровые инициативы с участием Hewlett Packard Enterprise</vt:lpstr>
      <vt:lpstr>Сбор данных</vt:lpstr>
      <vt:lpstr>Подключенный работник</vt:lpstr>
      <vt:lpstr>Применение искусственного интеллекта</vt:lpstr>
      <vt:lpstr>Импортозамещение</vt:lpstr>
      <vt:lpstr>Спасибо</vt:lpstr>
    </vt:vector>
  </TitlesOfParts>
  <Company>Hewlett Packar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</dc:title>
  <dc:creator>Kartashev, Sergey</dc:creator>
  <cp:lastModifiedBy>Kartashev, Sergey</cp:lastModifiedBy>
  <cp:revision>757</cp:revision>
  <cp:lastPrinted>2018-11-27T12:45:12Z</cp:lastPrinted>
  <dcterms:created xsi:type="dcterms:W3CDTF">2015-10-21T07:54:47Z</dcterms:created>
  <dcterms:modified xsi:type="dcterms:W3CDTF">2019-04-12T07:48:58Z</dcterms:modified>
</cp:coreProperties>
</file>